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841" r:id="rId2"/>
    <p:sldMasterId id="2147483850" r:id="rId3"/>
  </p:sldMasterIdLst>
  <p:notesMasterIdLst>
    <p:notesMasterId r:id="rId13"/>
  </p:notesMasterIdLst>
  <p:handoutMasterIdLst>
    <p:handoutMasterId r:id="rId14"/>
  </p:handoutMasterIdLst>
  <p:sldIdLst>
    <p:sldId id="736" r:id="rId4"/>
    <p:sldId id="791" r:id="rId5"/>
    <p:sldId id="777" r:id="rId6"/>
    <p:sldId id="755" r:id="rId7"/>
    <p:sldId id="758" r:id="rId8"/>
    <p:sldId id="735" r:id="rId9"/>
    <p:sldId id="776" r:id="rId10"/>
    <p:sldId id="779" r:id="rId11"/>
    <p:sldId id="685" r:id="rId12"/>
  </p:sldIdLst>
  <p:sldSz cx="9906000" cy="6858000" type="A4"/>
  <p:notesSz cx="6743700" cy="9880600"/>
  <p:custDataLst>
    <p:tags r:id="rId15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DB Office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arnecke, Christiane" initials="CW" lastIdx="1" clrIdx="0"/>
  <p:cmAuthor id="1" name="Martin M Dziuba" initials="MMD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336699"/>
    <a:srgbClr val="70909C"/>
    <a:srgbClr val="009999"/>
    <a:srgbClr val="7797B1"/>
    <a:srgbClr val="969696"/>
    <a:srgbClr val="BEBEBE"/>
    <a:srgbClr val="DEE0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68" autoAdjust="0"/>
    <p:restoredTop sz="86408" autoAdjust="0"/>
  </p:normalViewPr>
  <p:slideViewPr>
    <p:cSldViewPr>
      <p:cViewPr>
        <p:scale>
          <a:sx n="70" d="100"/>
          <a:sy n="70" d="100"/>
        </p:scale>
        <p:origin x="-2490" y="-129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C8C8CD"/>
            </a:solidFill>
          </c:spPr>
          <c:dPt>
            <c:idx val="0"/>
            <c:bubble3D val="0"/>
            <c:spPr>
              <a:solidFill>
                <a:srgbClr val="009999"/>
              </a:solidFill>
            </c:spPr>
          </c:dPt>
          <c:dPt>
            <c:idx val="2"/>
            <c:bubble3D val="0"/>
            <c:spPr>
              <a:solidFill>
                <a:srgbClr val="7797B1"/>
              </a:solidFill>
            </c:spPr>
          </c:dPt>
          <c:dLbls>
            <c:delete val="1"/>
          </c:dLbls>
          <c:cat>
            <c:strRef>
              <c:f>Tabelle3!$A$1:$A$3</c:f>
              <c:strCache>
                <c:ptCount val="3"/>
                <c:pt idx="0">
                  <c:v>Bulk </c:v>
                </c:pt>
                <c:pt idx="1">
                  <c:v>other </c:v>
                </c:pt>
                <c:pt idx="2">
                  <c:v>Intermodal</c:v>
                </c:pt>
              </c:strCache>
            </c:strRef>
          </c:cat>
          <c:val>
            <c:numRef>
              <c:f>Tabelle3!$B$1:$B$3</c:f>
              <c:numCache>
                <c:formatCode>General</c:formatCode>
                <c:ptCount val="3"/>
                <c:pt idx="0">
                  <c:v>0.2</c:v>
                </c:pt>
                <c:pt idx="1">
                  <c:v>0.24</c:v>
                </c:pt>
                <c:pt idx="2">
                  <c:v>0.56000000000000005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spPr>
            <a:solidFill>
              <a:srgbClr val="C8C8CD"/>
            </a:solidFill>
          </c:spPr>
          <c:dPt>
            <c:idx val="0"/>
            <c:bubble3D val="0"/>
            <c:spPr>
              <a:solidFill>
                <a:srgbClr val="009999"/>
              </a:solidFill>
            </c:spPr>
          </c:dPt>
          <c:dPt>
            <c:idx val="2"/>
            <c:bubble3D val="0"/>
            <c:spPr>
              <a:solidFill>
                <a:srgbClr val="7797B1"/>
              </a:solidFill>
            </c:spPr>
          </c:dPt>
          <c:dLbls>
            <c:delete val="1"/>
          </c:dLbls>
          <c:cat>
            <c:strRef>
              <c:f>Tabelle3!$A$1:$A$3</c:f>
              <c:strCache>
                <c:ptCount val="3"/>
                <c:pt idx="0">
                  <c:v>Bulk </c:v>
                </c:pt>
                <c:pt idx="1">
                  <c:v>single wagonload</c:v>
                </c:pt>
                <c:pt idx="2">
                  <c:v>Intermodal</c:v>
                </c:pt>
              </c:strCache>
            </c:strRef>
          </c:cat>
          <c:val>
            <c:numRef>
              <c:f>Tabelle3!$B$1:$B$3</c:f>
              <c:numCache>
                <c:formatCode>General</c:formatCode>
                <c:ptCount val="3"/>
                <c:pt idx="0">
                  <c:v>0.13</c:v>
                </c:pt>
                <c:pt idx="1">
                  <c:v>0.14000000000000001</c:v>
                </c:pt>
                <c:pt idx="2">
                  <c:v>0.73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8813" cy="530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t" anchorCtr="0" compatLnSpc="1">
            <a:prstTxWarp prst="textNoShape">
              <a:avLst/>
            </a:prstTxWarp>
          </a:bodyPr>
          <a:lstStyle>
            <a:lvl1pPr algn="l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7098" y="1"/>
            <a:ext cx="2871049" cy="530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t" anchorCtr="0" compatLnSpc="1">
            <a:prstTxWarp prst="textNoShape">
              <a:avLst/>
            </a:prstTxWarp>
          </a:bodyPr>
          <a:lstStyle>
            <a:lvl1pPr algn="r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5572"/>
            <a:ext cx="2948813" cy="45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b" anchorCtr="0" compatLnSpc="1">
            <a:prstTxWarp prst="textNoShape">
              <a:avLst/>
            </a:prstTxWarp>
          </a:bodyPr>
          <a:lstStyle>
            <a:lvl1pPr algn="l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7098" y="9405572"/>
            <a:ext cx="2871049" cy="45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b" anchorCtr="0" compatLnSpc="1">
            <a:prstTxWarp prst="textNoShape">
              <a:avLst/>
            </a:prstTxWarp>
          </a:bodyPr>
          <a:lstStyle>
            <a:lvl1pPr algn="r" defTabSz="900589">
              <a:defRPr sz="1200"/>
            </a:lvl1pPr>
          </a:lstStyle>
          <a:p>
            <a:pPr>
              <a:defRPr/>
            </a:pPr>
            <a:fld id="{150E313B-1BAC-4691-9C78-FF076980603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185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818" cy="495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t" anchorCtr="0" compatLnSpc="1">
            <a:prstTxWarp prst="textNoShape">
              <a:avLst/>
            </a:prstTxWarp>
          </a:bodyPr>
          <a:lstStyle>
            <a:lvl1pPr algn="l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2882" y="0"/>
            <a:ext cx="2920818" cy="495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t" anchorCtr="0" compatLnSpc="1">
            <a:prstTxWarp prst="textNoShape">
              <a:avLst/>
            </a:prstTxWarp>
          </a:bodyPr>
          <a:lstStyle>
            <a:lvl1pPr algn="r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0088" y="742950"/>
            <a:ext cx="5346700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7398" y="4693285"/>
            <a:ext cx="4948905" cy="444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84988"/>
            <a:ext cx="2920818" cy="49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b" anchorCtr="0" compatLnSpc="1">
            <a:prstTxWarp prst="textNoShape">
              <a:avLst/>
            </a:prstTxWarp>
          </a:bodyPr>
          <a:lstStyle>
            <a:lvl1pPr algn="l" defTabSz="90058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2882" y="9384988"/>
            <a:ext cx="2920818" cy="49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37" tIns="45018" rIns="90037" bIns="45018" numCol="1" anchor="b" anchorCtr="0" compatLnSpc="1">
            <a:prstTxWarp prst="textNoShape">
              <a:avLst/>
            </a:prstTxWarp>
          </a:bodyPr>
          <a:lstStyle>
            <a:lvl1pPr algn="r" defTabSz="900589">
              <a:defRPr sz="1200"/>
            </a:lvl1pPr>
          </a:lstStyle>
          <a:p>
            <a:pPr>
              <a:defRPr/>
            </a:pPr>
            <a:fld id="{308508D8-9859-4F65-9A71-B828298B80E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8634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00088" y="742950"/>
            <a:ext cx="5343525" cy="3700463"/>
          </a:xfrm>
          <a:ln/>
        </p:spPr>
      </p:sp>
      <p:sp>
        <p:nvSpPr>
          <p:cNvPr id="18435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1pPr>
            <a:lvl2pPr marL="709702" indent="-272963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2pPr>
            <a:lvl3pPr marL="109184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3pPr>
            <a:lvl4pPr marL="152858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4pPr>
            <a:lvl5pPr marL="196532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5pPr>
            <a:lvl6pPr marL="2402068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6pPr>
            <a:lvl7pPr marL="2838808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7pPr>
            <a:lvl8pPr marL="3275547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8pPr>
            <a:lvl9pPr marL="3712287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fld id="{7675A1B1-9EC3-44EB-A026-91EF1C489324}" type="slidenum">
              <a:rPr lang="de-DE" sz="1100" b="0">
                <a:latin typeface="Times New Roman" pitchFamily="18" charset="0"/>
              </a:rPr>
              <a:pPr/>
              <a:t>3</a:t>
            </a:fld>
            <a:endParaRPr lang="de-DE" sz="1100" b="0">
              <a:latin typeface="Times New Roman" pitchFamily="18" charset="0"/>
            </a:endParaRPr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8188"/>
            <a:ext cx="5356225" cy="3708400"/>
          </a:xfrm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251" y="4692788"/>
            <a:ext cx="4949200" cy="4449106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1pPr>
            <a:lvl2pPr marL="709702" indent="-272963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2pPr>
            <a:lvl3pPr marL="109184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3pPr>
            <a:lvl4pPr marL="152858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4pPr>
            <a:lvl5pPr marL="1965329" indent="-218370" defTabSz="879545">
              <a:defRPr sz="1500" b="1">
                <a:solidFill>
                  <a:schemeClr val="tx1"/>
                </a:solidFill>
                <a:latin typeface="DB Office" pitchFamily="34" charset="0"/>
              </a:defRPr>
            </a:lvl5pPr>
            <a:lvl6pPr marL="2402068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6pPr>
            <a:lvl7pPr marL="2838808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7pPr>
            <a:lvl8pPr marL="3275547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8pPr>
            <a:lvl9pPr marL="3712287" indent="-218370" algn="ctr" defTabSz="879545" eaLnBrk="0" fontAlgn="base" hangingPunct="0">
              <a:spcBef>
                <a:spcPct val="50000"/>
              </a:spcBef>
              <a:spcAft>
                <a:spcPct val="0"/>
              </a:spcAft>
              <a:defRPr sz="15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fld id="{7675A1B1-9EC3-44EB-A026-91EF1C489324}" type="slidenum">
              <a:rPr lang="de-DE" sz="1100" b="0">
                <a:latin typeface="Times New Roman" pitchFamily="18" charset="0"/>
              </a:rPr>
              <a:pPr/>
              <a:t>4</a:t>
            </a:fld>
            <a:endParaRPr lang="de-DE" sz="1100" b="0">
              <a:latin typeface="Times New Roman" pitchFamily="18" charset="0"/>
            </a:endParaRPr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8188"/>
            <a:ext cx="5356225" cy="3708400"/>
          </a:xfrm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7251" y="4692788"/>
            <a:ext cx="4949200" cy="4449106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6913" y="741363"/>
            <a:ext cx="5349875" cy="3705225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5005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2204"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35595" indent="-282921" defTabSz="902204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31684" indent="-226337" defTabSz="902204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584358" indent="-226337" defTabSz="902204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37032" indent="-226337" defTabSz="902204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489705" indent="-226337" algn="ctr" defTabSz="90220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42379" indent="-226337" algn="ctr" defTabSz="90220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395053" indent="-226337" algn="ctr" defTabSz="90220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47727" indent="-226337" algn="ctr" defTabSz="90220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fld id="{987D9B41-4C0E-4A4C-A8C1-59199C506540}" type="slidenum">
              <a:rPr lang="de-DE" altLang="en-US" sz="1200"/>
              <a:pPr/>
              <a:t>9</a:t>
            </a:fld>
            <a:endParaRPr lang="de-DE" altLang="en-US" sz="1200"/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51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1052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DB Office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DB Office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9pPr>
            </a:lstStyle>
            <a:p>
              <a:pPr>
                <a:defRPr/>
              </a:pPr>
              <a:endParaRPr lang="en-US" altLang="en-US" smtClean="0"/>
            </a:p>
          </p:txBody>
        </p:sp>
        <p:sp>
          <p:nvSpPr>
            <p:cNvPr id="6" name="Rectangle 1053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DB Office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DB Office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9pPr>
            </a:lstStyle>
            <a:p>
              <a:pPr>
                <a:defRPr/>
              </a:pPr>
              <a:endParaRPr lang="en-US" altLang="en-US" smtClean="0"/>
            </a:p>
          </p:txBody>
        </p:sp>
      </p:grpSp>
      <p:sp>
        <p:nvSpPr>
          <p:cNvPr id="28682" name="Rectangle 1034"/>
          <p:cNvSpPr>
            <a:spLocks noGrp="1" noChangeArrowheads="1"/>
          </p:cNvSpPr>
          <p:nvPr>
            <p:ph type="ctrTitle"/>
          </p:nvPr>
        </p:nvSpPr>
        <p:spPr>
          <a:xfrm>
            <a:off x="200025" y="1557338"/>
            <a:ext cx="9505950" cy="86360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8683" name="Rectangle 1035"/>
          <p:cNvSpPr>
            <a:spLocks noGrp="1" noChangeArrowheads="1"/>
          </p:cNvSpPr>
          <p:nvPr>
            <p:ph type="subTitle" idx="1"/>
          </p:nvPr>
        </p:nvSpPr>
        <p:spPr>
          <a:xfrm>
            <a:off x="200025" y="2420938"/>
            <a:ext cx="9505950" cy="863600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4" name="Picture 2" descr="Z:\Korridor A PMG\20 EEIG Administration\90 Media_Marketing_Events\40 Documentation\Logo Corridor\corridor1_r-a_wbm_72dpi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575" y="115888"/>
            <a:ext cx="2605088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3380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029F6F-219C-460F-9421-EFE1B9DEFE7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1280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329488" y="404813"/>
            <a:ext cx="2376487" cy="60499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00025" y="404813"/>
            <a:ext cx="6977063" cy="604996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88BEDA-9E85-4D92-88EC-A9325527FDA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4420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760F28-0154-46E4-A265-51FAAC7763C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DB Netz AG – European Corridor Management (I.NMC)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53537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A12 -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044" y="274640"/>
            <a:ext cx="7355227" cy="85010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+mn-lt"/>
                <a:sym typeface="Wingdings" pitchFamily="2" charset="2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PMO MB Meeting 52 (Frankfurt) 20160303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693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5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7785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56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7412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291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9933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rA12 -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044" y="274640"/>
            <a:ext cx="7355227" cy="85010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+mn-lt"/>
                <a:sym typeface="Wingdings" pitchFamily="2" charset="2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000506" y="6692930"/>
            <a:ext cx="1905001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900" smtClean="0">
                <a:cs typeface="+mn-cs"/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3729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D31E0-DBF1-4DCD-8A36-BC72211F58F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3871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0" y="6597650"/>
            <a:ext cx="7059613" cy="260350"/>
          </a:xfrm>
        </p:spPr>
        <p:txBody>
          <a:bodyPr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2063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A12 -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044" y="274640"/>
            <a:ext cx="7355227" cy="85010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+mn-lt"/>
                <a:sym typeface="Wingdings" pitchFamily="2" charset="2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2"/>
          <p:cNvSpPr>
            <a:spLocks noGrp="1"/>
          </p:cNvSpPr>
          <p:nvPr>
            <p:ph type="sldNum" sz="quarter" idx="11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000506" y="6692930"/>
            <a:ext cx="1905001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900" smtClean="0">
                <a:cs typeface="+mn-cs"/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95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47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PMO ExB Meeting Rome 20161128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8222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PMO ExB Meeting Rome 20161128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05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0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PMO ExB Meeting Rome 20161128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8920166" y="6597650"/>
            <a:ext cx="1003300" cy="260350"/>
          </a:xfrm>
        </p:spPr>
        <p:txBody>
          <a:bodyPr lIns="95875" tIns="47937" rIns="95875" bIns="47937" rtlCol="0"/>
          <a:lstStyle>
            <a:lvl1pPr algn="l">
              <a:defRPr sz="9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Nr.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415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D2B636-177E-4F32-B8FB-35A70C46F7B8}" type="slidenum">
              <a:rPr lang="de-DE">
                <a:solidFill>
                  <a:srgbClr val="000000">
                    <a:tint val="75000"/>
                  </a:srgbClr>
                </a:solidFill>
              </a:rPr>
              <a:pPr/>
              <a:t>‹Nr.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©PMO ExB Meeting Rome 20161128</a:t>
            </a: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80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8095" y="288000"/>
            <a:ext cx="9508571" cy="1116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(möglichst 1-2 Zeilen)</a:t>
            </a:r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243" y="6692902"/>
            <a:ext cx="6898275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r>
              <a:rPr lang="de-DE" altLang="de-DE" smtClean="0">
                <a:solidFill>
                  <a:srgbClr val="000000">
                    <a:tint val="75000"/>
                  </a:srgbClr>
                </a:solidFill>
              </a:rPr>
              <a:t>Firma | Referent | Abteilung | 13.05.2015</a:t>
            </a:r>
            <a:endParaRPr lang="de-DE" alt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98095" y="6692902"/>
            <a:ext cx="288139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de-DE" sz="900" smtClean="0"/>
            </a:lvl1pPr>
          </a:lstStyle>
          <a:p>
            <a:fld id="{52C6F6EA-6ADD-43B6-963C-85EF970B7263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Nr.›</a:t>
            </a:fld>
            <a:endParaRPr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765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CC852A-8C17-4ACA-84EB-43AB86E9E78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6671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D49B84-CCA2-49BC-9277-B4631E3308D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466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C1E81-3417-4422-9622-3A6BF6B565D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9468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812CF-0504-409D-93DF-0435A2F26E3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7294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200025" y="404813"/>
            <a:ext cx="6913563" cy="6477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7D358C-E40E-41A9-8BD0-AD1F6AAFC83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7800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97CDA-446A-428C-9AF2-44D728B5BB8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388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6F3717-6ED1-44A2-92F8-A122F0BFAB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1004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2.jpg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025" y="404813"/>
            <a:ext cx="69135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Klicken Sie, um das Titelformat zu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Klicken Sie, um die Formate des Vorlagentextes zu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  <a:p>
            <a:pPr lvl="3"/>
            <a:r>
              <a:rPr lang="de-DE" altLang="en-US" smtClean="0"/>
              <a:t>Vierte Ebene</a:t>
            </a:r>
          </a:p>
          <a:p>
            <a:pPr lvl="4"/>
            <a:r>
              <a:rPr lang="de-DE" altLang="en-US" smtClean="0"/>
              <a:t>Fünfte Ebene</a:t>
            </a:r>
          </a:p>
        </p:txBody>
      </p:sp>
      <p:sp>
        <p:nvSpPr>
          <p:cNvPr id="3089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/>
            </a:lvl1pPr>
          </a:lstStyle>
          <a:p>
            <a:pPr>
              <a:defRPr/>
            </a:pPr>
            <a:fld id="{2669D6C5-78C4-4FFE-9603-25CC775143E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900"/>
            </a:lvl1pPr>
          </a:lstStyle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  <p:grpSp>
        <p:nvGrpSpPr>
          <p:cNvPr id="1030" name="Group 54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2" name="Rectangle 55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DB Office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DB Office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9pPr>
            </a:lstStyle>
            <a:p>
              <a:pPr>
                <a:defRPr/>
              </a:pPr>
              <a:endParaRPr lang="en-US" altLang="en-US" smtClean="0"/>
            </a:p>
          </p:txBody>
        </p:sp>
        <p:sp>
          <p:nvSpPr>
            <p:cNvPr id="1033" name="Rectangle 56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DB Office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DB Office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DB Office" pitchFamily="34" charset="0"/>
                </a:defRPr>
              </a:lvl9pPr>
            </a:lstStyle>
            <a:p>
              <a:pPr>
                <a:defRPr/>
              </a:pPr>
              <a:endParaRPr lang="en-US" altLang="en-US" smtClean="0"/>
            </a:p>
          </p:txBody>
        </p:sp>
      </p:grpSp>
      <p:pic>
        <p:nvPicPr>
          <p:cNvPr id="1031" name="Picture 2" descr="Z:\Korridor A PMG\20 EEIG Administration\90 Media_Marketing_Events\40 Documentation\Logo Corridor\corridor1_r-a_wbm_72dpi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575" y="115888"/>
            <a:ext cx="2605088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9" r:id="rId12"/>
    <p:sldLayoutId id="2147483840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5pPr>
      <a:lvl6pPr marL="20066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24638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9210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33782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000506" y="6692930"/>
            <a:ext cx="1905001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 b="0" dirty="0"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1028" name="Group 55"/>
          <p:cNvGrpSpPr>
            <a:grpSpLocks/>
          </p:cNvGrpSpPr>
          <p:nvPr/>
        </p:nvGrpSpPr>
        <p:grpSpPr bwMode="auto">
          <a:xfrm>
            <a:off x="0" y="1125568"/>
            <a:ext cx="9906000" cy="287337"/>
            <a:chOff x="0" y="1208"/>
            <a:chExt cx="6240" cy="181"/>
          </a:xfrm>
        </p:grpSpPr>
        <p:sp>
          <p:nvSpPr>
            <p:cNvPr id="1033" name="Rectangle 56"/>
            <p:cNvSpPr>
              <a:spLocks noChangeArrowheads="1"/>
            </p:cNvSpPr>
            <p:nvPr/>
          </p:nvSpPr>
          <p:spPr bwMode="auto">
            <a:xfrm>
              <a:off x="0" y="1208"/>
              <a:ext cx="6240" cy="9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GB" sz="1200" b="1">
                <a:solidFill>
                  <a:srgbClr val="000000"/>
                </a:solidFill>
              </a:endParaRPr>
            </a:p>
          </p:txBody>
        </p:sp>
        <p:sp>
          <p:nvSpPr>
            <p:cNvPr id="1034" name="Rectangle 57"/>
            <p:cNvSpPr>
              <a:spLocks noChangeArrowheads="1"/>
            </p:cNvSpPr>
            <p:nvPr/>
          </p:nvSpPr>
          <p:spPr bwMode="auto">
            <a:xfrm>
              <a:off x="0" y="1208"/>
              <a:ext cx="2122" cy="18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GB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3135" name="AcnSubjectTitle_ID_3135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9388" y="1420843"/>
            <a:ext cx="6985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74650" indent="-18415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752475" indent="-187325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130300" indent="-187325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549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006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463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921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378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en-US" sz="1600" b="1" smtClean="0">
                <a:solidFill>
                  <a:srgbClr val="000000"/>
                </a:solidFill>
                <a:latin typeface="Arial" charset="0"/>
              </a:rPr>
              <a:t>Subject Title</a:t>
            </a:r>
          </a:p>
        </p:txBody>
      </p:sp>
      <p:sp>
        <p:nvSpPr>
          <p:cNvPr id="1031" name="Text Box 83"/>
          <p:cNvSpPr txBox="1">
            <a:spLocks noChangeArrowheads="1"/>
          </p:cNvSpPr>
          <p:nvPr/>
        </p:nvSpPr>
        <p:spPr bwMode="auto">
          <a:xfrm>
            <a:off x="153988" y="439739"/>
            <a:ext cx="6238876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>
              <a:spcBef>
                <a:spcPct val="50000"/>
              </a:spcBef>
              <a:defRPr/>
            </a:pPr>
            <a:endParaRPr lang="en-GB" sz="2000" smtClean="0">
              <a:solidFill>
                <a:srgbClr val="000000"/>
              </a:solidFill>
            </a:endParaRPr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0" y="6597650"/>
            <a:ext cx="7059613" cy="260350"/>
          </a:xfrm>
          <a:prstGeom prst="rect">
            <a:avLst/>
          </a:prstGeom>
        </p:spPr>
        <p:txBody>
          <a:bodyPr vert="horz" lIns="95875" tIns="47937" rIns="95875" bIns="47937" rtlCol="0" anchor="ctr"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 MB Workshop 20161130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de-DE">
                <a:solidFill>
                  <a:srgbClr val="000000">
                    <a:tint val="75000"/>
                  </a:srgbClr>
                </a:solidFill>
              </a:rPr>
              <a:t>Chart No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spcBef>
                  <a:spcPct val="50000"/>
                </a:spcBef>
                <a:defRPr/>
              </a:pPr>
              <a:t>‹Nr.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855" y="285922"/>
            <a:ext cx="2593133" cy="56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2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•"/>
        <a:defRPr sz="1600">
          <a:solidFill>
            <a:schemeClr val="tx1"/>
          </a:solidFill>
          <a:latin typeface="+mn-lt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5pPr>
      <a:lvl6pPr marL="20066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6pPr>
      <a:lvl7pPr marL="24638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7pPr>
      <a:lvl8pPr marL="29210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8pPr>
      <a:lvl9pPr marL="33782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000508" y="6692922"/>
            <a:ext cx="1905001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 b="0" dirty="0"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1028" name="Group 55"/>
          <p:cNvGrpSpPr>
            <a:grpSpLocks/>
          </p:cNvGrpSpPr>
          <p:nvPr/>
        </p:nvGrpSpPr>
        <p:grpSpPr bwMode="auto">
          <a:xfrm>
            <a:off x="0" y="1125559"/>
            <a:ext cx="9906000" cy="287337"/>
            <a:chOff x="0" y="1208"/>
            <a:chExt cx="6240" cy="181"/>
          </a:xfrm>
        </p:grpSpPr>
        <p:sp>
          <p:nvSpPr>
            <p:cNvPr id="1033" name="Rectangle 56"/>
            <p:cNvSpPr>
              <a:spLocks noChangeArrowheads="1"/>
            </p:cNvSpPr>
            <p:nvPr/>
          </p:nvSpPr>
          <p:spPr bwMode="auto">
            <a:xfrm>
              <a:off x="0" y="1208"/>
              <a:ext cx="6240" cy="9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GB" sz="1200" b="1">
                <a:solidFill>
                  <a:srgbClr val="000000"/>
                </a:solidFill>
              </a:endParaRPr>
            </a:p>
          </p:txBody>
        </p:sp>
        <p:sp>
          <p:nvSpPr>
            <p:cNvPr id="1034" name="Rectangle 57"/>
            <p:cNvSpPr>
              <a:spLocks noChangeArrowheads="1"/>
            </p:cNvSpPr>
            <p:nvPr/>
          </p:nvSpPr>
          <p:spPr bwMode="auto">
            <a:xfrm>
              <a:off x="0" y="1208"/>
              <a:ext cx="2122" cy="18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50000"/>
                </a:spcBef>
              </a:pPr>
              <a:endParaRPr lang="en-GB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3135" name="AcnSubjectTitle_ID_3135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9390" y="1420834"/>
            <a:ext cx="6985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74650" indent="-18415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752475" indent="-187325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130300" indent="-187325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549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006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463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921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378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en-US" sz="1600" b="1">
                <a:solidFill>
                  <a:srgbClr val="000000"/>
                </a:solidFill>
                <a:latin typeface="Arial" charset="0"/>
              </a:rPr>
              <a:t>Subject Title</a:t>
            </a:r>
          </a:p>
        </p:txBody>
      </p:sp>
      <p:sp>
        <p:nvSpPr>
          <p:cNvPr id="1031" name="Text Box 83"/>
          <p:cNvSpPr txBox="1">
            <a:spLocks noChangeArrowheads="1"/>
          </p:cNvSpPr>
          <p:nvPr/>
        </p:nvSpPr>
        <p:spPr bwMode="auto">
          <a:xfrm>
            <a:off x="153988" y="439739"/>
            <a:ext cx="623887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>
              <a:spcBef>
                <a:spcPct val="50000"/>
              </a:spcBef>
              <a:defRPr/>
            </a:pPr>
            <a:endParaRPr lang="en-GB" sz="2000">
              <a:solidFill>
                <a:srgbClr val="000000"/>
              </a:solidFill>
            </a:endParaRPr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" y="6597650"/>
            <a:ext cx="7059612" cy="260350"/>
          </a:xfrm>
          <a:prstGeom prst="rect">
            <a:avLst/>
          </a:prstGeom>
        </p:spPr>
        <p:txBody>
          <a:bodyPr vert="horz" lIns="95875" tIns="47937" rIns="95875" bIns="47937" rtlCol="0" anchor="ctr"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en-US">
                <a:solidFill>
                  <a:srgbClr val="000000">
                    <a:tint val="75000"/>
                  </a:srgbClr>
                </a:solidFill>
              </a:rPr>
              <a:t>©PMO ExB Meeting Rome 20161128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920166" y="6597650"/>
            <a:ext cx="1003300" cy="260350"/>
          </a:xfrm>
          <a:prstGeom prst="rect">
            <a:avLst/>
          </a:prstGeom>
        </p:spPr>
        <p:txBody>
          <a:bodyPr lIns="95875" tIns="47937" rIns="95875" bIns="47937" rtlCol="0"/>
          <a:lstStyle>
            <a:lvl1pPr algn="l">
              <a:defRPr sz="900" b="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Chart </a:t>
            </a:r>
            <a:r>
              <a:rPr lang="de-DE" dirty="0" err="1">
                <a:solidFill>
                  <a:srgbClr val="000000">
                    <a:tint val="75000"/>
                  </a:srgbClr>
                </a:solidFill>
              </a:rPr>
              <a:t>No</a:t>
            </a:r>
            <a:r>
              <a:rPr lang="de-DE" dirty="0">
                <a:solidFill>
                  <a:srgbClr val="000000">
                    <a:tint val="75000"/>
                  </a:srgbClr>
                </a:solidFill>
              </a:rPr>
              <a:t>. </a:t>
            </a:r>
            <a:fld id="{02E395ED-FF16-426F-87DF-4A8329CD1609}" type="slidenum">
              <a:rPr lang="en-GB">
                <a:solidFill>
                  <a:srgbClr val="000000">
                    <a:tint val="75000"/>
                  </a:srgbClr>
                </a:solidFill>
              </a:rPr>
              <a:pPr>
                <a:spcBef>
                  <a:spcPct val="50000"/>
                </a:spcBef>
                <a:defRPr/>
              </a:pPr>
              <a:t>‹Nr.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13" name="Picture 2" descr="Z:\Korridor A PMG\20 EEIG Administration\90 Media_Marketing_Events\40 Documentation\Logo Corridor\corridor1_r-a_wbm_72dpi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880" y="260648"/>
            <a:ext cx="2604648" cy="55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303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•"/>
        <a:defRPr sz="1600">
          <a:solidFill>
            <a:schemeClr val="tx1"/>
          </a:solidFill>
          <a:latin typeface="+mn-lt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5pPr>
      <a:lvl6pPr marL="20066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6pPr>
      <a:lvl7pPr marL="24638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7pPr>
      <a:lvl8pPr marL="29210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8pPr>
      <a:lvl9pPr marL="3378200" indent="-228600" algn="l" rtl="0" eaLnBrk="0" fontAlgn="base" hangingPunct="0">
        <a:spcBef>
          <a:spcPct val="0"/>
        </a:spcBef>
        <a:spcAft>
          <a:spcPct val="0"/>
        </a:spcAft>
        <a:buClr>
          <a:srgbClr val="DF0029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6.jpeg"/><Relationship Id="rId18" Type="http://schemas.openxmlformats.org/officeDocument/2006/relationships/image" Target="../media/image11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5.jpeg"/><Relationship Id="rId17" Type="http://schemas.openxmlformats.org/officeDocument/2006/relationships/image" Target="../media/image10.png"/><Relationship Id="rId2" Type="http://schemas.openxmlformats.org/officeDocument/2006/relationships/tags" Target="../tags/tag5.xml"/><Relationship Id="rId16" Type="http://schemas.openxmlformats.org/officeDocument/2006/relationships/image" Target="../media/image9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4.png"/><Relationship Id="rId5" Type="http://schemas.openxmlformats.org/officeDocument/2006/relationships/tags" Target="../tags/tag8.xml"/><Relationship Id="rId15" Type="http://schemas.openxmlformats.org/officeDocument/2006/relationships/image" Target="../media/image8.png"/><Relationship Id="rId10" Type="http://schemas.openxmlformats.org/officeDocument/2006/relationships/image" Target="../media/image3.jpeg"/><Relationship Id="rId4" Type="http://schemas.openxmlformats.org/officeDocument/2006/relationships/tags" Target="../tags/tag7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6.emf"/><Relationship Id="rId4" Type="http://schemas.openxmlformats.org/officeDocument/2006/relationships/tags" Target="../tags/tag18.xml"/><Relationship Id="rId9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8.pn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17.jpe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5.jpeg"/><Relationship Id="rId5" Type="http://schemas.openxmlformats.org/officeDocument/2006/relationships/tags" Target="../tags/tag26.xml"/><Relationship Id="rId15" Type="http://schemas.openxmlformats.org/officeDocument/2006/relationships/image" Target="../media/image10.png"/><Relationship Id="rId10" Type="http://schemas.openxmlformats.org/officeDocument/2006/relationships/image" Target="../media/image4.png"/><Relationship Id="rId4" Type="http://schemas.openxmlformats.org/officeDocument/2006/relationships/tags" Target="../tags/tag25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Ortbox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69041" y="6165850"/>
            <a:ext cx="3648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8873" rIns="0" bIns="0"/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en-GB" sz="1300" b="0" dirty="0" smtClean="0"/>
              <a:t>May 2017</a:t>
            </a:r>
            <a:endParaRPr lang="en-GB" sz="1300" b="0" dirty="0"/>
          </a:p>
        </p:txBody>
      </p:sp>
      <p:sp>
        <p:nvSpPr>
          <p:cNvPr id="3077" name="Ortbox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70627" y="5589588"/>
            <a:ext cx="3648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8873" rIns="0" bIns="0"/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en-GB" sz="1300" b="0" dirty="0" smtClean="0"/>
              <a:t>Christiane Warnecke</a:t>
            </a:r>
            <a:endParaRPr lang="en-GB" sz="1300" b="0" dirty="0"/>
          </a:p>
        </p:txBody>
      </p:sp>
      <p:sp>
        <p:nvSpPr>
          <p:cNvPr id="3078" name="Ortbox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70627" y="5862638"/>
            <a:ext cx="3648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8873" rIns="0" bIns="0"/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/>
            <a:r>
              <a:rPr lang="en-GB" sz="1300" b="0" dirty="0" smtClean="0"/>
              <a:t>Managing Director</a:t>
            </a:r>
          </a:p>
        </p:txBody>
      </p:sp>
      <p:sp>
        <p:nvSpPr>
          <p:cNvPr id="3079" name="Line 140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269038" y="5516563"/>
            <a:ext cx="3649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875" tIns="47937" rIns="95875" bIns="47937"/>
          <a:lstStyle/>
          <a:p>
            <a:endParaRPr lang="en-GB"/>
          </a:p>
        </p:txBody>
      </p:sp>
      <p:sp>
        <p:nvSpPr>
          <p:cNvPr id="3080" name="Line 141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6269038" y="5834063"/>
            <a:ext cx="3649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875" tIns="47937" rIns="95875" bIns="47937"/>
          <a:lstStyle/>
          <a:p>
            <a:endParaRPr lang="en-GB"/>
          </a:p>
        </p:txBody>
      </p:sp>
      <p:sp>
        <p:nvSpPr>
          <p:cNvPr id="3081" name="Line 142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6269038" y="6122988"/>
            <a:ext cx="3649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875" tIns="47937" rIns="95875" bIns="47937"/>
          <a:lstStyle/>
          <a:p>
            <a:endParaRPr lang="en-GB"/>
          </a:p>
        </p:txBody>
      </p:sp>
      <p:sp>
        <p:nvSpPr>
          <p:cNvPr id="3082" name="Line 143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269038" y="6453188"/>
            <a:ext cx="36496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5875" tIns="47937" rIns="95875" bIns="47937"/>
          <a:lstStyle/>
          <a:p>
            <a:endParaRPr lang="en-GB"/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344360" y="4221107"/>
            <a:ext cx="518472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sz="2400" dirty="0" smtClean="0"/>
              <a:t>RFC Rhine-Alpine </a:t>
            </a:r>
            <a:r>
              <a:rPr lang="en-GB" sz="2400" dirty="0" smtClean="0"/>
              <a:t>– cooperation for improved international services and </a:t>
            </a:r>
            <a:r>
              <a:rPr lang="en-GB" sz="2400" dirty="0" smtClean="0"/>
              <a:t>growth </a:t>
            </a:r>
            <a:r>
              <a:rPr lang="en-GB" sz="2400" dirty="0" smtClean="0"/>
              <a:t>on rail </a:t>
            </a:r>
            <a:endParaRPr lang="en-GB" sz="24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074" y="1322868"/>
            <a:ext cx="4160890" cy="3802689"/>
          </a:xfrm>
          <a:prstGeom prst="rect">
            <a:avLst/>
          </a:prstGeom>
        </p:spPr>
      </p:pic>
      <p:sp>
        <p:nvSpPr>
          <p:cNvPr id="29" name="Text Box 21"/>
          <p:cNvSpPr txBox="1">
            <a:spLocks noChangeArrowheads="1"/>
          </p:cNvSpPr>
          <p:nvPr/>
        </p:nvSpPr>
        <p:spPr bwMode="auto">
          <a:xfrm>
            <a:off x="514352" y="1560513"/>
            <a:ext cx="2736850" cy="3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defPPr>
              <a:defRPr lang="de-DE"/>
            </a:defPPr>
            <a:lvl1pPr algn="l">
              <a:defRPr sz="3200" b="0"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</a:lvl9pPr>
          </a:lstStyle>
          <a:p>
            <a:pPr>
              <a:defRPr/>
            </a:pPr>
            <a:r>
              <a:rPr lang="en-GB" sz="1600">
                <a:effectLst/>
              </a:rPr>
              <a:t>A cooperation between</a:t>
            </a:r>
          </a:p>
        </p:txBody>
      </p:sp>
      <p:pic>
        <p:nvPicPr>
          <p:cNvPr id="30" name="Picture 22" descr="prorail_roodlog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96" b="23097"/>
          <a:stretch>
            <a:fillRect/>
          </a:stretch>
        </p:blipFill>
        <p:spPr bwMode="auto">
          <a:xfrm>
            <a:off x="488954" y="1982788"/>
            <a:ext cx="1393825" cy="334962"/>
          </a:xfrm>
          <a:prstGeom prst="rect">
            <a:avLst/>
          </a:prstGeom>
          <a:solidFill>
            <a:srgbClr val="878C9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3" descr="SBB_POS_2F_RGB_0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2800" y="1997075"/>
            <a:ext cx="1517650" cy="238125"/>
          </a:xfrm>
          <a:prstGeom prst="rect">
            <a:avLst/>
          </a:prstGeom>
          <a:solidFill>
            <a:srgbClr val="878C96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4" descr="logo_bls_rgb_blau_jpg_98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488" y="2407015"/>
            <a:ext cx="576262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5" descr="LogoRFI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417" y="2376852"/>
            <a:ext cx="120967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9" descr="logo-infrabel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950" y="1989138"/>
            <a:ext cx="13208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4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0892" y="2276840"/>
            <a:ext cx="58102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650" y="2356878"/>
            <a:ext cx="908280" cy="27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34" y="2996940"/>
            <a:ext cx="3252223" cy="454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579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Y:\Korridorübergreifende Themen\Übersichtskarten\EU-Karten\Eu_Gueterkorridore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75" t="6126" r="1626" b="3784"/>
          <a:stretch/>
        </p:blipFill>
        <p:spPr bwMode="auto">
          <a:xfrm>
            <a:off x="698377" y="1545337"/>
            <a:ext cx="6554740" cy="4992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684" name="Titel 1"/>
          <p:cNvSpPr>
            <a:spLocks noGrp="1"/>
          </p:cNvSpPr>
          <p:nvPr>
            <p:ph type="title"/>
          </p:nvPr>
        </p:nvSpPr>
        <p:spPr>
          <a:xfrm>
            <a:off x="187925" y="420938"/>
            <a:ext cx="6925375" cy="376320"/>
          </a:xfrm>
        </p:spPr>
        <p:txBody>
          <a:bodyPr/>
          <a:lstStyle/>
          <a:p>
            <a:r>
              <a:rPr lang="de-DE" dirty="0" err="1" smtClean="0"/>
              <a:t>Nine</a:t>
            </a:r>
            <a:r>
              <a:rPr lang="de-DE" dirty="0" smtClean="0"/>
              <a:t> Rail Freight </a:t>
            </a:r>
            <a:r>
              <a:rPr lang="de-DE" dirty="0" err="1" smtClean="0"/>
              <a:t>Corridor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mplemented</a:t>
            </a:r>
            <a:r>
              <a:rPr lang="de-DE" dirty="0" smtClean="0"/>
              <a:t> in Europe – </a:t>
            </a:r>
            <a:r>
              <a:rPr lang="de-DE" dirty="0" err="1" smtClean="0"/>
              <a:t>obligation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European Regulation 913/2010</a:t>
            </a:r>
          </a:p>
        </p:txBody>
      </p:sp>
      <p:sp>
        <p:nvSpPr>
          <p:cNvPr id="71685" name="Textfeld 38"/>
          <p:cNvSpPr txBox="1">
            <a:spLocks noChangeArrowheads="1"/>
          </p:cNvSpPr>
          <p:nvPr/>
        </p:nvSpPr>
        <p:spPr bwMode="auto">
          <a:xfrm>
            <a:off x="535914" y="1536805"/>
            <a:ext cx="3219496" cy="30797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de-DE" sz="1400" b="1" dirty="0" smtClean="0"/>
              <a:t>European Rail Freight Corridors</a:t>
            </a:r>
            <a:endParaRPr lang="de-DE" sz="1400" b="1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584" y="1432623"/>
            <a:ext cx="3841006" cy="134266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5388554" y="1460332"/>
            <a:ext cx="381303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European Rail Freight Corridors                              </a:t>
            </a:r>
            <a:endParaRPr lang="de-DE" sz="1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7473350" y="5714756"/>
            <a:ext cx="2160300" cy="7386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Route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similar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, but not </a:t>
            </a:r>
            <a:r>
              <a:rPr lang="de-DE" sz="1400" dirty="0" err="1" smtClean="0"/>
              <a:t>identical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TEN-T / Core Network </a:t>
            </a:r>
            <a:r>
              <a:rPr lang="de-DE" sz="1400" dirty="0" err="1" smtClean="0"/>
              <a:t>Corridors</a:t>
            </a:r>
            <a:endParaRPr lang="en-GB" sz="14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809038" y="6669088"/>
            <a:ext cx="1041400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de-DE" altLang="en-US" sz="900" smtClean="0"/>
              <a:t> Chart No. </a:t>
            </a:r>
            <a:fld id="{6A35E8FA-C238-471D-98F2-AE0ED6BEA96D}" type="slidenum">
              <a:rPr lang="de-DE" altLang="en-US" sz="900" smtClean="0"/>
              <a:pPr/>
              <a:t>2</a:t>
            </a:fld>
            <a:endParaRPr lang="de-DE" altLang="en-US" sz="900" dirty="0" smtClean="0"/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7473350" y="808421"/>
            <a:ext cx="2160192" cy="520491"/>
          </a:xfrm>
          <a:prstGeom prst="roundRect">
            <a:avLst/>
          </a:prstGeom>
          <a:solidFill>
            <a:srgbClr val="FFC0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err="1" smtClean="0"/>
              <a:t>Austauschen</a:t>
            </a:r>
            <a:r>
              <a:rPr lang="en-GB" dirty="0" smtClean="0"/>
              <a:t> – </a:t>
            </a:r>
            <a:r>
              <a:rPr lang="en-GB" dirty="0" err="1" smtClean="0"/>
              <a:t>neue</a:t>
            </a:r>
            <a:r>
              <a:rPr lang="en-GB" dirty="0" smtClean="0"/>
              <a:t> </a:t>
            </a:r>
            <a:r>
              <a:rPr lang="en-GB" dirty="0" err="1" smtClean="0"/>
              <a:t>Karte</a:t>
            </a:r>
            <a:r>
              <a:rPr lang="en-GB" dirty="0" smtClean="0"/>
              <a:t> DB </a:t>
            </a:r>
            <a:r>
              <a:rPr lang="en-GB" dirty="0" err="1" smtClean="0"/>
              <a:t>Netz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26516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330" y="1592263"/>
            <a:ext cx="5260973" cy="4805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3" name="Rectangle 3"/>
          <p:cNvSpPr>
            <a:spLocks noChangeArrowheads="1"/>
          </p:cNvSpPr>
          <p:nvPr/>
        </p:nvSpPr>
        <p:spPr bwMode="auto">
          <a:xfrm>
            <a:off x="200025" y="404813"/>
            <a:ext cx="6706015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 eaLnBrk="0" hangingPunct="0"/>
            <a:r>
              <a:rPr lang="en-GB" sz="2000" b="1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ail Freight Corridor Rhine-Alpine covers the most important transport axis in Europe </a:t>
            </a:r>
            <a:endParaRPr lang="en-GB" sz="2000" b="1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Inhaltsplatzhalter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92088" y="1484313"/>
            <a:ext cx="95059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0" hangingPunct="0"/>
            <a:r>
              <a:rPr lang="en-GB" sz="1400" b="1" dirty="0" smtClean="0">
                <a:solidFill>
                  <a:srgbClr val="000000"/>
                </a:solidFill>
              </a:rPr>
              <a:t>Corridor overview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altLang="en-US" sz="900" dirty="0" smtClean="0"/>
              <a:t>© RFC Rhine-Alpine, May 2017</a:t>
            </a: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809038" y="6669088"/>
            <a:ext cx="1041400" cy="117475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altLang="en-US" sz="900" dirty="0" smtClean="0"/>
              <a:t> Chart No. </a:t>
            </a:r>
            <a:fld id="{6A35E8FA-C238-471D-98F2-AE0ED6BEA96D}" type="slidenum">
              <a:rPr lang="en-GB" altLang="en-US" sz="900" smtClean="0"/>
              <a:pPr/>
              <a:t>3</a:t>
            </a:fld>
            <a:endParaRPr lang="en-GB" altLang="en-US" sz="900" dirty="0" smtClean="0"/>
          </a:p>
        </p:txBody>
      </p:sp>
      <p:sp>
        <p:nvSpPr>
          <p:cNvPr id="9" name="Rectangle 5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5457070" y="2095025"/>
            <a:ext cx="4204826" cy="4281498"/>
          </a:xfrm>
          <a:prstGeom prst="rect">
            <a:avLst/>
          </a:prstGeom>
          <a:solidFill>
            <a:schemeClr val="bg1"/>
          </a:solidFill>
          <a:ln w="12700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16000" tIns="252000" rIns="216000" bIns="252000"/>
          <a:lstStyle/>
          <a:p>
            <a:pPr marL="177800" lvl="1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400" b="1" dirty="0" smtClean="0"/>
              <a:t>Track kilometres</a:t>
            </a:r>
            <a:r>
              <a:rPr lang="en-GB" sz="1400" dirty="0" smtClean="0"/>
              <a:t>: 3.900 km in total</a:t>
            </a:r>
          </a:p>
          <a:p>
            <a:pPr marL="177800" lvl="1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400" b="1" dirty="0" smtClean="0"/>
              <a:t>6 Sea Ports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400" dirty="0" smtClean="0"/>
              <a:t>The two biggest European sea ports: Rotterdam &amp; Antwerp,</a:t>
            </a:r>
          </a:p>
          <a:p>
            <a:pPr marL="177800" lvl="1" algn="l">
              <a:spcBef>
                <a:spcPct val="20000"/>
              </a:spcBef>
              <a:buClr>
                <a:srgbClr val="FF0000"/>
              </a:buClr>
              <a:buSzPct val="85000"/>
            </a:pPr>
            <a:r>
              <a:rPr lang="en-GB" sz="1400" dirty="0" smtClean="0"/>
              <a:t>Other important ports like </a:t>
            </a:r>
            <a:r>
              <a:rPr lang="en-GB" sz="1400" dirty="0" err="1" smtClean="0"/>
              <a:t>Zeebrugge</a:t>
            </a:r>
            <a:r>
              <a:rPr lang="en-GB" sz="1400" dirty="0" smtClean="0"/>
              <a:t>, Amsterdam, Flushing, Genoa</a:t>
            </a:r>
          </a:p>
          <a:p>
            <a:pPr marL="177800" lvl="1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400" b="1" dirty="0" smtClean="0"/>
              <a:t>More than 10 Inland Waterway Ports </a:t>
            </a:r>
            <a:r>
              <a:rPr lang="en-GB" sz="1400" dirty="0" smtClean="0"/>
              <a:t/>
            </a:r>
            <a:br>
              <a:rPr lang="en-GB" sz="1400" dirty="0" smtClean="0"/>
            </a:br>
            <a:r>
              <a:rPr lang="en-GB" sz="1400" dirty="0" smtClean="0"/>
              <a:t>in DE: Duisburg, Neuss, Cologne, Mainz, Mannheim, Ludwigshafen, </a:t>
            </a:r>
            <a:r>
              <a:rPr lang="en-GB" sz="1400" dirty="0" err="1" smtClean="0"/>
              <a:t>Germersheim</a:t>
            </a:r>
            <a:r>
              <a:rPr lang="en-GB" sz="1400" dirty="0" smtClean="0"/>
              <a:t>, Karlsruhe</a:t>
            </a:r>
          </a:p>
          <a:p>
            <a:pPr marL="177800" lvl="1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400" b="1" dirty="0" smtClean="0"/>
              <a:t>100 Terminals</a:t>
            </a:r>
            <a:r>
              <a:rPr lang="en-GB" sz="1400" dirty="0" smtClean="0"/>
              <a:t>	</a:t>
            </a:r>
          </a:p>
          <a:p>
            <a:pPr marL="177800" lvl="1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400" b="1" dirty="0" smtClean="0"/>
              <a:t>Number of Trains at Borders 2016, e.g.</a:t>
            </a:r>
          </a:p>
          <a:p>
            <a:pPr marL="463550" lvl="2" indent="-285750" algn="l" defTabSz="1323975">
              <a:spcBef>
                <a:spcPct val="20000"/>
              </a:spcBef>
              <a:buClr>
                <a:srgbClr val="FF0000"/>
              </a:buClr>
              <a:buSzPct val="85000"/>
              <a:buFont typeface="DB Office" panose="020B0604020202020204" pitchFamily="34" charset="0"/>
              <a:buChar char="―"/>
            </a:pPr>
            <a:r>
              <a:rPr lang="en-GB" sz="1400" dirty="0" smtClean="0"/>
              <a:t>Emmerich/Venlo: 	37.000</a:t>
            </a:r>
          </a:p>
          <a:p>
            <a:pPr marL="463550" lvl="2" indent="-285750" algn="l" defTabSz="1323975">
              <a:spcBef>
                <a:spcPct val="20000"/>
              </a:spcBef>
              <a:buClr>
                <a:srgbClr val="FF0000"/>
              </a:buClr>
              <a:buSzPct val="85000"/>
              <a:buFont typeface="DB Office" panose="020B0604020202020204" pitchFamily="34" charset="0"/>
              <a:buChar char="―"/>
            </a:pPr>
            <a:r>
              <a:rPr lang="en-GB" sz="1400" dirty="0" smtClean="0"/>
              <a:t>Aachen:		22.000</a:t>
            </a:r>
          </a:p>
          <a:p>
            <a:pPr marL="463550" lvl="2" indent="-285750" algn="l" defTabSz="1323975">
              <a:spcBef>
                <a:spcPct val="20000"/>
              </a:spcBef>
              <a:buClr>
                <a:srgbClr val="FF0000"/>
              </a:buClr>
              <a:buSzPct val="85000"/>
              <a:buFont typeface="DB Office" panose="020B0604020202020204" pitchFamily="34" charset="0"/>
              <a:buChar char="―"/>
            </a:pPr>
            <a:r>
              <a:rPr lang="en-GB" sz="1400" dirty="0" smtClean="0"/>
              <a:t>Basel: 	  	54.000</a:t>
            </a:r>
          </a:p>
          <a:p>
            <a:pPr marL="463550" lvl="2" indent="-285750" algn="l" defTabSz="1323975">
              <a:spcBef>
                <a:spcPct val="20000"/>
              </a:spcBef>
              <a:buClr>
                <a:srgbClr val="FF0000"/>
              </a:buClr>
              <a:buSzPct val="85000"/>
              <a:buFont typeface="DB Office" panose="020B0604020202020204" pitchFamily="34" charset="0"/>
              <a:buChar char="―"/>
            </a:pPr>
            <a:r>
              <a:rPr lang="en-GB" sz="1400" dirty="0" smtClean="0"/>
              <a:t>Domo/Luino/Chiasso:	48.000</a:t>
            </a:r>
          </a:p>
          <a:p>
            <a:pPr marL="635000" lvl="2" indent="-176213" algn="l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en-GB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5553836" y="1916790"/>
            <a:ext cx="1703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GB" sz="1400" b="1" dirty="0" smtClean="0"/>
              <a:t>Facts and figures</a:t>
            </a: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val="18273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3"/>
          <p:cNvSpPr>
            <a:spLocks noChangeArrowheads="1"/>
          </p:cNvSpPr>
          <p:nvPr/>
        </p:nvSpPr>
        <p:spPr bwMode="auto">
          <a:xfrm>
            <a:off x="200025" y="404813"/>
            <a:ext cx="6706015" cy="576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 eaLnBrk="0" hangingPunct="0"/>
            <a:r>
              <a:rPr lang="en-GB" sz="20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ery different conditions for rail traffic on northern and southern part of Rail Freight Corridor Rhine-Alpine</a:t>
            </a:r>
          </a:p>
          <a:p>
            <a:pPr algn="l" eaLnBrk="0" hangingPunct="0"/>
            <a:endParaRPr lang="en-GB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809038" y="6669088"/>
            <a:ext cx="1041400" cy="117475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en-US" sz="900" smtClean="0"/>
              <a:t> Chart </a:t>
            </a:r>
            <a:r>
              <a:rPr lang="de-DE" altLang="en-US" sz="900" err="1" smtClean="0"/>
              <a:t>No</a:t>
            </a:r>
            <a:r>
              <a:rPr lang="de-DE" altLang="en-US" sz="900" smtClean="0"/>
              <a:t>. </a:t>
            </a:r>
            <a:fld id="{6A35E8FA-C238-471D-98F2-AE0ED6BEA96D}" type="slidenum">
              <a:rPr lang="de-DE" altLang="en-US" sz="900" smtClean="0"/>
              <a:pPr/>
              <a:t>4</a:t>
            </a:fld>
            <a:endParaRPr lang="de-DE" altLang="en-US" sz="900" smtClean="0"/>
          </a:p>
        </p:txBody>
      </p:sp>
      <p:sp>
        <p:nvSpPr>
          <p:cNvPr id="5" name="Textfeld 4"/>
          <p:cNvSpPr txBox="1"/>
          <p:nvPr/>
        </p:nvSpPr>
        <p:spPr>
          <a:xfrm>
            <a:off x="56320" y="3940107"/>
            <a:ext cx="439549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Very high volumes from Rotterdam Port and also from the Port of Antwerp with distribution to hinterland and especially to highly populated Rhine-Ruhr area in Germany 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Rail share of hinterland container traffic is around 10% of TEU, Rotterdam and Antwerp both aim for shares of 15-20% until 2030/2035 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Inland waterways with highest market share on total corridor: 54%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GB" sz="1400" dirty="0" smtClean="0"/>
          </a:p>
        </p:txBody>
      </p:sp>
      <p:sp>
        <p:nvSpPr>
          <p:cNvPr id="13" name="Textfeld 12"/>
          <p:cNvSpPr txBox="1"/>
          <p:nvPr/>
        </p:nvSpPr>
        <p:spPr>
          <a:xfrm>
            <a:off x="5097020" y="3940107"/>
            <a:ext cx="4536630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Strong political support of rail in Switzerland, e.g.</a:t>
            </a:r>
          </a:p>
          <a:p>
            <a:pPr marL="450850" lvl="1" indent="-177800" algn="l">
              <a:spcBef>
                <a:spcPts val="0"/>
              </a:spcBef>
              <a:buFont typeface="DB Office" panose="020B0604020202020204" pitchFamily="34" charset="0"/>
              <a:buChar char="−"/>
            </a:pPr>
            <a:r>
              <a:rPr lang="en-GB" sz="1400" dirty="0" smtClean="0"/>
              <a:t>No night traffic on road </a:t>
            </a:r>
          </a:p>
          <a:p>
            <a:pPr marL="450850" lvl="1" indent="-177800" algn="l">
              <a:spcBef>
                <a:spcPts val="0"/>
              </a:spcBef>
              <a:buFont typeface="DB Office" panose="020B0604020202020204" pitchFamily="34" charset="0"/>
              <a:buChar char="−"/>
            </a:pPr>
            <a:r>
              <a:rPr lang="en-GB" sz="1400" dirty="0" smtClean="0"/>
              <a:t>Reduced path prices until 2021</a:t>
            </a:r>
          </a:p>
          <a:p>
            <a:pPr marL="450850" lvl="1" indent="-177800" algn="l">
              <a:spcBef>
                <a:spcPts val="0"/>
              </a:spcBef>
              <a:buFont typeface="DB Office" panose="020B0604020202020204" pitchFamily="34" charset="0"/>
              <a:buChar char="−"/>
            </a:pPr>
            <a:r>
              <a:rPr lang="en-GB" sz="1400" dirty="0" smtClean="0"/>
              <a:t>Massive investments in rail tunnels and other infrastructure for efficient rail transport (NEAT, GBT)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Main </a:t>
            </a:r>
            <a:r>
              <a:rPr lang="en-GB" sz="1400" dirty="0"/>
              <a:t>volumes </a:t>
            </a:r>
            <a:r>
              <a:rPr lang="en-GB" sz="1400" dirty="0" smtClean="0"/>
              <a:t>from southern Germany, Belgium and The Netherlands </a:t>
            </a:r>
            <a:r>
              <a:rPr lang="en-GB" sz="1400" dirty="0"/>
              <a:t>to intermodal terminals and industrial </a:t>
            </a:r>
            <a:r>
              <a:rPr lang="en-GB" sz="1400" dirty="0" smtClean="0"/>
              <a:t>centres </a:t>
            </a:r>
            <a:r>
              <a:rPr lang="en-GB" sz="1400" dirty="0"/>
              <a:t>in Northern Italy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Rail covers about 70 % of trans alpine traffic (in % of net tons) – competition almost only with road</a:t>
            </a:r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536"/>
          <a:stretch/>
        </p:blipFill>
        <p:spPr bwMode="auto">
          <a:xfrm>
            <a:off x="128330" y="1670061"/>
            <a:ext cx="4104570" cy="2118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 bwMode="auto">
          <a:xfrm>
            <a:off x="5241040" y="1824028"/>
            <a:ext cx="4105625" cy="1876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altLang="en-US" sz="900" dirty="0" smtClean="0"/>
              <a:t>© RFC Rhine-Alpine, May 2017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28330" y="6381410"/>
            <a:ext cx="5746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100" dirty="0" err="1" smtClean="0"/>
              <a:t>Sources</a:t>
            </a:r>
            <a:r>
              <a:rPr lang="de-DE" sz="1100" dirty="0" smtClean="0"/>
              <a:t>: Transport Market Study 2013, Annual Report 2015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225028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/>
          <p:cNvSpPr/>
          <p:nvPr/>
        </p:nvSpPr>
        <p:spPr bwMode="auto">
          <a:xfrm>
            <a:off x="174264" y="4725180"/>
            <a:ext cx="9459385" cy="165623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0340" y="412881"/>
            <a:ext cx="7669065" cy="647700"/>
          </a:xfrm>
        </p:spPr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Rail on RFC Rhine-Alpine has a focus on intermodal </a:t>
            </a:r>
            <a:br>
              <a:rPr lang="en-GB" dirty="0" smtClean="0">
                <a:solidFill>
                  <a:schemeClr val="tx1"/>
                </a:solidFill>
              </a:rPr>
            </a:br>
            <a:r>
              <a:rPr lang="en-GB" dirty="0" smtClean="0">
                <a:solidFill>
                  <a:schemeClr val="tx1"/>
                </a:solidFill>
              </a:rPr>
              <a:t>transport; bulk rather volatile due to IWW competition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© RFC Rhine-Alpine, May 2017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5313050" y="4725180"/>
            <a:ext cx="4104569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600"/>
              </a:spcBef>
            </a:pPr>
            <a:r>
              <a:rPr lang="en-GB" sz="1400" b="1" dirty="0" smtClean="0"/>
              <a:t>Characteristics of bulk traffic:</a:t>
            </a:r>
          </a:p>
          <a:p>
            <a:pPr marL="182563" lvl="1" indent="-182563" algn="l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182563" algn="l"/>
              </a:tabLst>
            </a:pPr>
            <a:r>
              <a:rPr lang="en-GB" sz="1400" dirty="0" smtClean="0"/>
              <a:t>Key choice of logistic operators: cost, (rail cost are up to 200% of IWW costs)</a:t>
            </a:r>
          </a:p>
          <a:p>
            <a:pPr marL="182563" lvl="1" indent="-182563" algn="l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182563" algn="l"/>
              </a:tabLst>
            </a:pPr>
            <a:r>
              <a:rPr lang="en-GB" sz="1400" dirty="0" smtClean="0"/>
              <a:t>Rail often has strategic background function to IWW for incidents e.g. low water </a:t>
            </a:r>
          </a:p>
          <a:p>
            <a:pPr marL="182563" lvl="1" indent="-182563" algn="l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182563" algn="l"/>
              </a:tabLst>
            </a:pPr>
            <a:r>
              <a:rPr lang="en-GB" sz="1400" dirty="0" smtClean="0"/>
              <a:t>Therefore high share of ad hoc traffic demand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88040" y="4365130"/>
            <a:ext cx="458469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§"/>
            </a:pPr>
            <a:endParaRPr lang="en-GB" sz="1400" dirty="0" smtClean="0"/>
          </a:p>
          <a:p>
            <a:pPr algn="l">
              <a:spcBef>
                <a:spcPts val="1200"/>
              </a:spcBef>
            </a:pPr>
            <a:r>
              <a:rPr lang="en-GB" sz="1400" b="1" dirty="0" smtClean="0"/>
              <a:t>Characteristics of intermodal traffic: </a:t>
            </a:r>
          </a:p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Key choice of intermodal operators: cost, transport time, flexibility </a:t>
            </a:r>
          </a:p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1400" dirty="0"/>
              <a:t>Strong growth rates </a:t>
            </a:r>
          </a:p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Relatively long train runs on corridor </a:t>
            </a:r>
          </a:p>
          <a:p>
            <a:pPr marL="285750" indent="-285750" algn="l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GB" sz="1400" dirty="0" smtClean="0"/>
              <a:t>Train lengths as limiting factor</a:t>
            </a:r>
            <a:endParaRPr lang="en-GB" dirty="0" smtClean="0"/>
          </a:p>
        </p:txBody>
      </p:sp>
      <p:graphicFrame>
        <p:nvGraphicFramePr>
          <p:cNvPr id="1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1517728"/>
              </p:ext>
            </p:extLst>
          </p:nvPr>
        </p:nvGraphicFramePr>
        <p:xfrm>
          <a:off x="1496520" y="1700760"/>
          <a:ext cx="3168440" cy="28647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Inhaltsplatzhalter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174265" y="1556740"/>
            <a:ext cx="526498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0" hangingPunct="0"/>
            <a:r>
              <a:rPr lang="en-GB" b="1" dirty="0" smtClean="0">
                <a:solidFill>
                  <a:srgbClr val="000000"/>
                </a:solidFill>
              </a:rPr>
              <a:t>Rail on RFC Rhine-Alpine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784560" y="2892974"/>
            <a:ext cx="1224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Intermodal 56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3080740" y="2276840"/>
            <a:ext cx="1224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schemeClr val="bg1"/>
                </a:solidFill>
              </a:rPr>
              <a:t>Wagonload</a:t>
            </a:r>
            <a:r>
              <a:rPr lang="de-DE" sz="1400" b="1" dirty="0" smtClean="0">
                <a:solidFill>
                  <a:schemeClr val="bg1"/>
                </a:solidFill>
              </a:rPr>
              <a:t> (</a:t>
            </a:r>
            <a:r>
              <a:rPr lang="de-DE" sz="1400" b="1" dirty="0" err="1" smtClean="0">
                <a:solidFill>
                  <a:schemeClr val="bg1"/>
                </a:solidFill>
              </a:rPr>
              <a:t>bulk</a:t>
            </a:r>
            <a:r>
              <a:rPr lang="de-DE" sz="1400" b="1" smtClean="0">
                <a:solidFill>
                  <a:schemeClr val="bg1"/>
                </a:solidFill>
              </a:rPr>
              <a:t>) 20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152750" y="3109004"/>
            <a:ext cx="122417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ingle </a:t>
            </a:r>
            <a:r>
              <a:rPr lang="de-DE" sz="1400" b="1" dirty="0" err="1" smtClean="0"/>
              <a:t>Wagonload</a:t>
            </a:r>
            <a:r>
              <a:rPr lang="de-DE" sz="1400" b="1" dirty="0" smtClean="0"/>
              <a:t> 24%</a:t>
            </a:r>
            <a:endParaRPr lang="en-GB" sz="1400" b="1" dirty="0"/>
          </a:p>
        </p:txBody>
      </p:sp>
      <p:graphicFrame>
        <p:nvGraphicFramePr>
          <p:cNvPr id="15" name="Diagramm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6304964"/>
              </p:ext>
            </p:extLst>
          </p:nvPr>
        </p:nvGraphicFramePr>
        <p:xfrm>
          <a:off x="5889130" y="1700760"/>
          <a:ext cx="3168440" cy="28647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6249180" y="2996941"/>
            <a:ext cx="1224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Intermodal 73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7257320" y="2098989"/>
            <a:ext cx="1224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 smtClean="0">
                <a:solidFill>
                  <a:schemeClr val="bg1"/>
                </a:solidFill>
              </a:rPr>
              <a:t>Wagonload</a:t>
            </a:r>
            <a:r>
              <a:rPr lang="de-DE" sz="1400" b="1" dirty="0" smtClean="0">
                <a:solidFill>
                  <a:schemeClr val="bg1"/>
                </a:solidFill>
              </a:rPr>
              <a:t> (</a:t>
            </a:r>
            <a:r>
              <a:rPr lang="de-DE" sz="1400" b="1" dirty="0" err="1" smtClean="0">
                <a:solidFill>
                  <a:schemeClr val="bg1"/>
                </a:solidFill>
              </a:rPr>
              <a:t>bulk</a:t>
            </a:r>
            <a:r>
              <a:rPr lang="de-DE" sz="1400" b="1" dirty="0" smtClean="0">
                <a:solidFill>
                  <a:schemeClr val="bg1"/>
                </a:solidFill>
              </a:rPr>
              <a:t>) 13%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7761390" y="2603059"/>
            <a:ext cx="122417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/>
              <a:t>Single </a:t>
            </a:r>
            <a:r>
              <a:rPr lang="de-DE" sz="1400" b="1" dirty="0" err="1" smtClean="0"/>
              <a:t>Wagonload</a:t>
            </a:r>
            <a:r>
              <a:rPr lang="de-DE" sz="1400" b="1" dirty="0" smtClean="0"/>
              <a:t> 14%</a:t>
            </a:r>
            <a:endParaRPr lang="en-GB" sz="1400" b="1" dirty="0"/>
          </a:p>
        </p:txBody>
      </p:sp>
      <p:sp>
        <p:nvSpPr>
          <p:cNvPr id="19" name="Inhaltsplatzhalter 5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74265" y="1882959"/>
            <a:ext cx="526498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0" hangingPunct="0"/>
            <a:r>
              <a:rPr lang="en-GB" b="1" dirty="0" smtClean="0">
                <a:solidFill>
                  <a:srgbClr val="000000"/>
                </a:solidFill>
              </a:rPr>
              <a:t>Share of train run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20" name="Inhaltsplatzhalter 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088768" y="1882959"/>
            <a:ext cx="209654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0" hangingPunct="0"/>
            <a:r>
              <a:rPr lang="en-GB" b="1" dirty="0" smtClean="0">
                <a:solidFill>
                  <a:srgbClr val="000000"/>
                </a:solidFill>
              </a:rPr>
              <a:t>Share of train kilometre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142386" y="6427233"/>
            <a:ext cx="574674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100" dirty="0" smtClean="0"/>
              <a:t>Source: Transport Market Study  2013</a:t>
            </a:r>
            <a:endParaRPr lang="en-GB" sz="1100" dirty="0"/>
          </a:p>
        </p:txBody>
      </p:sp>
      <p:sp>
        <p:nvSpPr>
          <p:cNvPr id="23" name="Foliennummernplatzhalter 3"/>
          <p:cNvSpPr txBox="1">
            <a:spLocks/>
          </p:cNvSpPr>
          <p:nvPr/>
        </p:nvSpPr>
        <p:spPr bwMode="auto">
          <a:xfrm>
            <a:off x="8809038" y="6669088"/>
            <a:ext cx="1041400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de-DE" altLang="en-US" sz="900" smtClean="0"/>
              <a:t> Chart No. </a:t>
            </a:r>
            <a:fld id="{6A35E8FA-C238-471D-98F2-AE0ED6BEA96D}" type="slidenum">
              <a:rPr lang="de-DE" altLang="en-US" sz="900" smtClean="0"/>
              <a:pPr/>
              <a:t>5</a:t>
            </a:fld>
            <a:endParaRPr lang="de-DE" altLang="en-US" sz="900" smtClean="0"/>
          </a:p>
        </p:txBody>
      </p:sp>
    </p:spTree>
    <p:extLst>
      <p:ext uri="{BB962C8B-B14F-4D97-AF65-F5344CB8AC3E}">
        <p14:creationId xmlns:p14="http://schemas.microsoft.com/office/powerpoint/2010/main" val="2359446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269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 Verbindung 6"/>
          <p:cNvCxnSpPr/>
          <p:nvPr/>
        </p:nvCxnSpPr>
        <p:spPr bwMode="auto">
          <a:xfrm>
            <a:off x="2339194" y="3594206"/>
            <a:ext cx="59996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6751" name="Rectangle 35"/>
          <p:cNvSpPr>
            <a:spLocks noGrp="1" noChangeArrowheads="1"/>
          </p:cNvSpPr>
          <p:nvPr>
            <p:ph type="title" idx="4294967295"/>
          </p:nvPr>
        </p:nvSpPr>
        <p:spPr>
          <a:xfrm>
            <a:off x="167424" y="406400"/>
            <a:ext cx="6394741" cy="647700"/>
          </a:xfrm>
        </p:spPr>
        <p:txBody>
          <a:bodyPr/>
          <a:lstStyle/>
          <a:p>
            <a:pPr eaLnBrk="1" hangingPunct="1"/>
            <a:r>
              <a:rPr lang="en-GB" dirty="0" smtClean="0"/>
              <a:t>Organisational of RFC Rhine-Alpine: We bring all relevant stakeholders together</a:t>
            </a:r>
          </a:p>
        </p:txBody>
      </p:sp>
      <p:sp>
        <p:nvSpPr>
          <p:cNvPr id="116752" name="Rectangle 36"/>
          <p:cNvSpPr>
            <a:spLocks noChangeArrowheads="1"/>
          </p:cNvSpPr>
          <p:nvPr/>
        </p:nvSpPr>
        <p:spPr bwMode="gray">
          <a:xfrm>
            <a:off x="128330" y="1412720"/>
            <a:ext cx="4338364" cy="230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l" eaLnBrk="0" hangingPunct="0"/>
            <a:r>
              <a:rPr lang="en-GB" sz="1400" b="1" smtClean="0">
                <a:solidFill>
                  <a:srgbClr val="000000"/>
                </a:solidFill>
              </a:rPr>
              <a:t>Governance structure  of RFC Rhine-Alpine</a:t>
            </a:r>
            <a:endParaRPr lang="en-GB" sz="1400" b="1">
              <a:solidFill>
                <a:srgbClr val="000000"/>
              </a:solidFill>
            </a:endParaRPr>
          </a:p>
        </p:txBody>
      </p:sp>
      <p:grpSp>
        <p:nvGrpSpPr>
          <p:cNvPr id="24" name="Gruppieren 23"/>
          <p:cNvGrpSpPr/>
          <p:nvPr/>
        </p:nvGrpSpPr>
        <p:grpSpPr>
          <a:xfrm>
            <a:off x="3401078" y="1691060"/>
            <a:ext cx="3013169" cy="1224361"/>
            <a:chOff x="3776914" y="1408673"/>
            <a:chExt cx="2321136" cy="1224361"/>
          </a:xfrm>
        </p:grpSpPr>
        <p:sp>
          <p:nvSpPr>
            <p:cNvPr id="116737" name="Rectangle 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778706" y="1408673"/>
              <a:ext cx="2319344" cy="360362"/>
            </a:xfrm>
            <a:prstGeom prst="rect">
              <a:avLst/>
            </a:prstGeom>
            <a:solidFill>
              <a:srgbClr val="878C96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Executive Board - </a:t>
              </a:r>
              <a:r>
                <a:rPr lang="en-GB" sz="1200" b="1" err="1" smtClean="0">
                  <a:solidFill>
                    <a:srgbClr val="FFFFFF"/>
                  </a:solidFill>
                </a:rPr>
                <a:t>ExB</a:t>
              </a:r>
              <a:endParaRPr lang="en-GB" sz="1200" b="1">
                <a:solidFill>
                  <a:srgbClr val="FFFFFF"/>
                </a:solidFill>
              </a:endParaRPr>
            </a:p>
          </p:txBody>
        </p:sp>
        <p:sp>
          <p:nvSpPr>
            <p:cNvPr id="116738" name="Rectangle 5"/>
            <p:cNvSpPr>
              <a:spLocks noChangeArrowheads="1"/>
            </p:cNvSpPr>
            <p:nvPr/>
          </p:nvSpPr>
          <p:spPr bwMode="gray">
            <a:xfrm>
              <a:off x="3776914" y="1769034"/>
              <a:ext cx="2317961" cy="864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smtClean="0">
                  <a:solidFill>
                    <a:srgbClr val="000000"/>
                  </a:solidFill>
                </a:rPr>
                <a:t>Representatives of the </a:t>
              </a:r>
              <a:r>
                <a:rPr lang="en-GB" sz="1200" b="1" smtClean="0">
                  <a:solidFill>
                    <a:srgbClr val="000000"/>
                  </a:solidFill>
                </a:rPr>
                <a:t>ministries</a:t>
              </a:r>
            </a:p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smtClean="0">
                  <a:solidFill>
                    <a:srgbClr val="000000"/>
                  </a:solidFill>
                </a:rPr>
                <a:t>Defining and monitoring the general goals of the corridor</a:t>
              </a:r>
              <a:endParaRPr lang="en-GB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6562165" y="2980280"/>
            <a:ext cx="3130428" cy="1384849"/>
            <a:chOff x="7222320" y="2792022"/>
            <a:chExt cx="2411463" cy="1384849"/>
          </a:xfrm>
        </p:grpSpPr>
        <p:sp>
          <p:nvSpPr>
            <p:cNvPr id="116741" name="Rectangl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7222321" y="2792022"/>
              <a:ext cx="2411462" cy="503238"/>
            </a:xfrm>
            <a:prstGeom prst="rect">
              <a:avLst/>
            </a:prstGeom>
            <a:solidFill>
              <a:srgbClr val="878C96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Corridor-One Stop Shop -</a:t>
              </a:r>
            </a:p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C-OSS</a:t>
              </a:r>
              <a:endParaRPr lang="en-GB" sz="1200" b="1">
                <a:solidFill>
                  <a:srgbClr val="FFFFFF"/>
                </a:solidFill>
              </a:endParaRPr>
            </a:p>
          </p:txBody>
        </p:sp>
        <p:sp>
          <p:nvSpPr>
            <p:cNvPr id="116742" name="Rectangle 9"/>
            <p:cNvSpPr>
              <a:spLocks noChangeArrowheads="1"/>
            </p:cNvSpPr>
            <p:nvPr/>
          </p:nvSpPr>
          <p:spPr bwMode="gray">
            <a:xfrm>
              <a:off x="7222320" y="3295258"/>
              <a:ext cx="2411463" cy="8816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b="1" smtClean="0">
                  <a:solidFill>
                    <a:srgbClr val="000000"/>
                  </a:solidFill>
                </a:rPr>
                <a:t>IMs</a:t>
              </a:r>
              <a:r>
                <a:rPr lang="en-GB" sz="1200" smtClean="0">
                  <a:solidFill>
                    <a:srgbClr val="000000"/>
                  </a:solidFill>
                </a:rPr>
                <a:t> appoint C-OSS</a:t>
              </a:r>
            </a:p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smtClean="0">
                  <a:solidFill>
                    <a:srgbClr val="000000"/>
                  </a:solidFill>
                </a:rPr>
                <a:t>Responsible for the allocation of </a:t>
              </a:r>
              <a:r>
                <a:rPr lang="en-GB" sz="1200" b="1" smtClean="0">
                  <a:solidFill>
                    <a:srgbClr val="000000"/>
                  </a:solidFill>
                </a:rPr>
                <a:t>Pre-arranged paths (</a:t>
              </a:r>
              <a:r>
                <a:rPr lang="en-GB" sz="1200" b="1" err="1" smtClean="0">
                  <a:solidFill>
                    <a:srgbClr val="000000"/>
                  </a:solidFill>
                </a:rPr>
                <a:t>PaPs</a:t>
              </a:r>
              <a:r>
                <a:rPr lang="en-GB" sz="1200" b="1" smtClean="0">
                  <a:solidFill>
                    <a:srgbClr val="000000"/>
                  </a:solidFill>
                </a:rPr>
                <a:t>) </a:t>
              </a:r>
              <a:r>
                <a:rPr lang="en-GB" sz="1200" smtClean="0">
                  <a:solidFill>
                    <a:srgbClr val="000000"/>
                  </a:solidFill>
                </a:rPr>
                <a:t>on the corridor</a:t>
              </a:r>
              <a:endParaRPr lang="en-GB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173950" y="2980280"/>
            <a:ext cx="3045390" cy="1384850"/>
            <a:chOff x="294663" y="2792022"/>
            <a:chExt cx="2345956" cy="1384850"/>
          </a:xfrm>
        </p:grpSpPr>
        <p:sp>
          <p:nvSpPr>
            <p:cNvPr id="116743" name="Rectangle 1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4663" y="2792022"/>
              <a:ext cx="2345956" cy="503238"/>
            </a:xfrm>
            <a:prstGeom prst="rect">
              <a:avLst/>
            </a:prstGeom>
            <a:solidFill>
              <a:srgbClr val="878C96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Railway / Terminal Advisory Groups – RAG / TAG</a:t>
              </a:r>
              <a:endParaRPr lang="en-GB" sz="1200" b="1">
                <a:solidFill>
                  <a:srgbClr val="FFFFFF"/>
                </a:solidFill>
              </a:endParaRPr>
            </a:p>
          </p:txBody>
        </p:sp>
        <p:sp>
          <p:nvSpPr>
            <p:cNvPr id="116744" name="Rectangle 11"/>
            <p:cNvSpPr>
              <a:spLocks noChangeArrowheads="1"/>
            </p:cNvSpPr>
            <p:nvPr/>
          </p:nvSpPr>
          <p:spPr bwMode="gray">
            <a:xfrm>
              <a:off x="294663" y="3295258"/>
              <a:ext cx="2345956" cy="8816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b="1" dirty="0" smtClean="0">
                  <a:solidFill>
                    <a:srgbClr val="000000"/>
                  </a:solidFill>
                </a:rPr>
                <a:t>Railway undertakings and terminals </a:t>
              </a:r>
              <a:r>
                <a:rPr lang="en-GB" sz="1200" dirty="0" smtClean="0">
                  <a:solidFill>
                    <a:srgbClr val="000000"/>
                  </a:solidFill>
                </a:rPr>
                <a:t>connected to the corridor</a:t>
              </a:r>
            </a:p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dirty="0" smtClean="0">
                  <a:solidFill>
                    <a:srgbClr val="000000"/>
                  </a:solidFill>
                </a:rPr>
                <a:t>RAG / TAG speaker invited for specific topics to MB and </a:t>
              </a:r>
              <a:r>
                <a:rPr lang="en-GB" sz="1200" dirty="0" err="1" smtClean="0">
                  <a:solidFill>
                    <a:srgbClr val="000000"/>
                  </a:solidFill>
                </a:rPr>
                <a:t>ExB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5" name="AutoShape 27"/>
          <p:cNvCxnSpPr>
            <a:cxnSpLocks noChangeShapeType="1"/>
            <a:stCxn id="40" idx="2"/>
            <a:endCxn id="40" idx="0"/>
          </p:cNvCxnSpPr>
          <p:nvPr/>
        </p:nvCxnSpPr>
        <p:spPr bwMode="gray">
          <a:xfrm>
            <a:off x="8405813" y="1420813"/>
            <a:ext cx="1055417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9" name="AutoShape 28"/>
          <p:cNvCxnSpPr>
            <a:cxnSpLocks noChangeShapeType="1"/>
            <a:stCxn id="40" idx="4"/>
            <a:endCxn id="40" idx="6"/>
          </p:cNvCxnSpPr>
          <p:nvPr/>
        </p:nvCxnSpPr>
        <p:spPr bwMode="gray">
          <a:xfrm>
            <a:off x="8405813" y="1642669"/>
            <a:ext cx="1055417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0" name="AutoShape 29"/>
          <p:cNvSpPr>
            <a:spLocks noChangeArrowheads="1"/>
          </p:cNvSpPr>
          <p:nvPr/>
        </p:nvSpPr>
        <p:spPr bwMode="gray">
          <a:xfrm>
            <a:off x="8405813" y="1420813"/>
            <a:ext cx="1055417" cy="221856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5334" tIns="6350" rIns="5334" bIns="0">
            <a:spAutoFit/>
          </a:bodyPr>
          <a:lstStyle/>
          <a:p>
            <a:pPr algn="l" defTabSz="769938"/>
            <a:r>
              <a:rPr lang="en-GB" sz="1400" smtClean="0">
                <a:solidFill>
                  <a:srgbClr val="000000"/>
                </a:solidFill>
              </a:rPr>
              <a:t>SCHEMATIC</a:t>
            </a:r>
            <a:endParaRPr lang="en-GB" sz="1400">
              <a:solidFill>
                <a:srgbClr val="000000"/>
              </a:solidFill>
            </a:endParaRPr>
          </a:p>
        </p:txBody>
      </p:sp>
      <p:sp>
        <p:nvSpPr>
          <p:cNvPr id="34" name="Rectangle 24"/>
          <p:cNvSpPr>
            <a:spLocks noChangeArrowheads="1"/>
          </p:cNvSpPr>
          <p:nvPr/>
        </p:nvSpPr>
        <p:spPr bwMode="auto">
          <a:xfrm>
            <a:off x="5507182" y="6350253"/>
            <a:ext cx="4112306" cy="520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000" kern="0" smtClean="0">
              <a:solidFill>
                <a:sysClr val="windowText" lastClr="000000"/>
              </a:solidFill>
            </a:endParaRPr>
          </a:p>
        </p:txBody>
      </p:sp>
      <p:cxnSp>
        <p:nvCxnSpPr>
          <p:cNvPr id="3" name="Gerade Verbindung 2"/>
          <p:cNvCxnSpPr>
            <a:stCxn id="116738" idx="2"/>
            <a:endCxn id="116739" idx="0"/>
          </p:cNvCxnSpPr>
          <p:nvPr/>
        </p:nvCxnSpPr>
        <p:spPr bwMode="auto">
          <a:xfrm>
            <a:off x="4905602" y="2915421"/>
            <a:ext cx="3224" cy="6327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/>
        </p:nvCxnSpPr>
        <p:spPr bwMode="auto">
          <a:xfrm>
            <a:off x="4947159" y="3590730"/>
            <a:ext cx="4254" cy="119151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2" name="Gruppieren 21"/>
          <p:cNvGrpSpPr/>
          <p:nvPr/>
        </p:nvGrpSpPr>
        <p:grpSpPr>
          <a:xfrm>
            <a:off x="3403141" y="2978693"/>
            <a:ext cx="3011106" cy="1386437"/>
            <a:chOff x="3775327" y="2790435"/>
            <a:chExt cx="2319548" cy="1386437"/>
          </a:xfrm>
        </p:grpSpPr>
        <p:sp>
          <p:nvSpPr>
            <p:cNvPr id="116739" name="Rectangl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775530" y="2790435"/>
              <a:ext cx="2319345" cy="503237"/>
            </a:xfrm>
            <a:prstGeom prst="rect">
              <a:avLst/>
            </a:prstGeom>
            <a:solidFill>
              <a:srgbClr val="878C96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Management Board - MB</a:t>
              </a:r>
              <a:endParaRPr lang="en-GB" sz="1200" b="1">
                <a:solidFill>
                  <a:srgbClr val="FFFFFF"/>
                </a:solidFill>
              </a:endParaRPr>
            </a:p>
          </p:txBody>
        </p:sp>
        <p:sp>
          <p:nvSpPr>
            <p:cNvPr id="116740" name="Rectangle 7"/>
            <p:cNvSpPr>
              <a:spLocks noChangeArrowheads="1"/>
            </p:cNvSpPr>
            <p:nvPr/>
          </p:nvSpPr>
          <p:spPr bwMode="gray">
            <a:xfrm>
              <a:off x="3775327" y="3254920"/>
              <a:ext cx="2319548" cy="9219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0" bIns="72000"/>
            <a:lstStyle/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b="1" smtClean="0">
                  <a:solidFill>
                    <a:srgbClr val="000000"/>
                  </a:solidFill>
                </a:rPr>
                <a:t>Infrastructure manager (IM) </a:t>
              </a:r>
              <a:r>
                <a:rPr lang="en-GB" sz="1200" smtClean="0">
                  <a:solidFill>
                    <a:srgbClr val="000000"/>
                  </a:solidFill>
                </a:rPr>
                <a:t>and allocation bodies of our corridor</a:t>
              </a:r>
            </a:p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b="1" smtClean="0">
                  <a:solidFill>
                    <a:srgbClr val="000000"/>
                  </a:solidFill>
                </a:rPr>
                <a:t>Main decision board</a:t>
              </a:r>
              <a:endParaRPr lang="en-GB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116757" name="Rectangle 45"/>
          <p:cNvSpPr>
            <a:spLocks noChangeArrowheads="1"/>
          </p:cNvSpPr>
          <p:nvPr/>
        </p:nvSpPr>
        <p:spPr bwMode="gray">
          <a:xfrm>
            <a:off x="588888" y="5556765"/>
            <a:ext cx="1339692" cy="60861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 smtClean="0">
                <a:solidFill>
                  <a:srgbClr val="FFFFFF"/>
                </a:solidFill>
              </a:rPr>
              <a:t>WGs on infra-structure and ERMTS</a:t>
            </a:r>
          </a:p>
        </p:txBody>
      </p:sp>
      <p:sp>
        <p:nvSpPr>
          <p:cNvPr id="31" name="Rectangle 45"/>
          <p:cNvSpPr>
            <a:spLocks noChangeArrowheads="1"/>
          </p:cNvSpPr>
          <p:nvPr/>
        </p:nvSpPr>
        <p:spPr bwMode="gray">
          <a:xfrm>
            <a:off x="2433796" y="5556765"/>
            <a:ext cx="1368425" cy="60861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 smtClean="0">
                <a:solidFill>
                  <a:srgbClr val="FFFFFF"/>
                </a:solidFill>
              </a:rPr>
              <a:t>WGs on performance management</a:t>
            </a:r>
          </a:p>
        </p:txBody>
      </p:sp>
      <p:sp>
        <p:nvSpPr>
          <p:cNvPr id="36" name="Rectangle 45"/>
          <p:cNvSpPr>
            <a:spLocks noChangeArrowheads="1"/>
          </p:cNvSpPr>
          <p:nvPr/>
        </p:nvSpPr>
        <p:spPr bwMode="gray">
          <a:xfrm>
            <a:off x="4278704" y="5556765"/>
            <a:ext cx="1368425" cy="60861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 dirty="0" smtClean="0">
                <a:solidFill>
                  <a:srgbClr val="FFFFFF"/>
                </a:solidFill>
              </a:rPr>
              <a:t>WGs on international path product</a:t>
            </a:r>
          </a:p>
        </p:txBody>
      </p:sp>
      <p:sp>
        <p:nvSpPr>
          <p:cNvPr id="37" name="Rectangle 45"/>
          <p:cNvSpPr>
            <a:spLocks noChangeArrowheads="1"/>
          </p:cNvSpPr>
          <p:nvPr/>
        </p:nvSpPr>
        <p:spPr bwMode="gray">
          <a:xfrm>
            <a:off x="6123612" y="5556765"/>
            <a:ext cx="1368425" cy="60861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 dirty="0" smtClean="0">
                <a:solidFill>
                  <a:srgbClr val="FFFFFF"/>
                </a:solidFill>
              </a:rPr>
              <a:t>WG on coordination of works / TCR</a:t>
            </a:r>
          </a:p>
        </p:txBody>
      </p:sp>
      <p:sp>
        <p:nvSpPr>
          <p:cNvPr id="38" name="Rectangle 45"/>
          <p:cNvSpPr>
            <a:spLocks noChangeArrowheads="1"/>
          </p:cNvSpPr>
          <p:nvPr/>
        </p:nvSpPr>
        <p:spPr bwMode="gray">
          <a:xfrm>
            <a:off x="7968520" y="5556765"/>
            <a:ext cx="1368425" cy="60861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r>
              <a:rPr lang="en-GB" sz="1200" b="1" smtClean="0">
                <a:solidFill>
                  <a:srgbClr val="FFFFFF"/>
                </a:solidFill>
              </a:rPr>
              <a:t>Other/temporary WGs….</a:t>
            </a: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1284975" y="5405542"/>
            <a:ext cx="73796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>
            <a:endCxn id="116757" idx="0"/>
          </p:cNvCxnSpPr>
          <p:nvPr/>
        </p:nvCxnSpPr>
        <p:spPr bwMode="auto">
          <a:xfrm flipH="1">
            <a:off x="1258734" y="5405542"/>
            <a:ext cx="14366" cy="15122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42"/>
          <p:cNvCxnSpPr/>
          <p:nvPr/>
        </p:nvCxnSpPr>
        <p:spPr bwMode="auto">
          <a:xfrm>
            <a:off x="3117997" y="5409099"/>
            <a:ext cx="1" cy="1512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43"/>
          <p:cNvCxnSpPr/>
          <p:nvPr/>
        </p:nvCxnSpPr>
        <p:spPr bwMode="auto">
          <a:xfrm>
            <a:off x="4933127" y="5410277"/>
            <a:ext cx="1" cy="1512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/>
        </p:nvCxnSpPr>
        <p:spPr bwMode="auto">
          <a:xfrm>
            <a:off x="6807824" y="5421778"/>
            <a:ext cx="1" cy="1512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/>
        </p:nvCxnSpPr>
        <p:spPr bwMode="auto">
          <a:xfrm>
            <a:off x="8664607" y="5400407"/>
            <a:ext cx="1" cy="1512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/>
          <p:nvPr/>
        </p:nvCxnSpPr>
        <p:spPr bwMode="auto">
          <a:xfrm>
            <a:off x="4931152" y="5227033"/>
            <a:ext cx="1" cy="15122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Gerade Verbindung 4"/>
          <p:cNvCxnSpPr/>
          <p:nvPr/>
        </p:nvCxnSpPr>
        <p:spPr>
          <a:xfrm>
            <a:off x="173950" y="4365130"/>
            <a:ext cx="9518643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/>
          <p:cNvSpPr/>
          <p:nvPr/>
        </p:nvSpPr>
        <p:spPr>
          <a:xfrm>
            <a:off x="7422766" y="1846729"/>
            <a:ext cx="451629" cy="1792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/>
          </a:p>
        </p:txBody>
      </p:sp>
      <p:sp>
        <p:nvSpPr>
          <p:cNvPr id="6" name="Textfeld 5"/>
          <p:cNvSpPr txBox="1"/>
          <p:nvPr/>
        </p:nvSpPr>
        <p:spPr>
          <a:xfrm>
            <a:off x="7796198" y="1792939"/>
            <a:ext cx="22442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smtClean="0"/>
              <a:t> bodies according to Regulation</a:t>
            </a:r>
            <a:endParaRPr lang="en-GB" sz="1100"/>
          </a:p>
        </p:txBody>
      </p:sp>
      <p:sp>
        <p:nvSpPr>
          <p:cNvPr id="45" name="Rechteck 44"/>
          <p:cNvSpPr/>
          <p:nvPr/>
        </p:nvSpPr>
        <p:spPr>
          <a:xfrm>
            <a:off x="7422761" y="2106709"/>
            <a:ext cx="451629" cy="179295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l" eaLnBrk="0" hangingPunct="0"/>
            <a:endParaRPr lang="en-GB" sz="1000" b="1">
              <a:solidFill>
                <a:srgbClr val="FFFFFF"/>
              </a:solidFill>
              <a:latin typeface="DB Office" pitchFamily="34" charset="0"/>
              <a:cs typeface="Arial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7796193" y="2061884"/>
            <a:ext cx="22442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smtClean="0"/>
              <a:t> structure decided by MB</a:t>
            </a:r>
            <a:endParaRPr lang="en-GB" sz="1100"/>
          </a:p>
        </p:txBody>
      </p:sp>
      <p:grpSp>
        <p:nvGrpSpPr>
          <p:cNvPr id="30" name="Gruppieren 29"/>
          <p:cNvGrpSpPr/>
          <p:nvPr/>
        </p:nvGrpSpPr>
        <p:grpSpPr>
          <a:xfrm>
            <a:off x="3400734" y="4456172"/>
            <a:ext cx="3013513" cy="770861"/>
            <a:chOff x="3635042" y="4469619"/>
            <a:chExt cx="2803449" cy="854765"/>
          </a:xfrm>
        </p:grpSpPr>
        <p:sp>
          <p:nvSpPr>
            <p:cNvPr id="116745" name="Rectangle 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635042" y="4469619"/>
              <a:ext cx="2803449" cy="20676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2700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algn="l" eaLnBrk="0" hangingPunct="0"/>
              <a:r>
                <a:rPr lang="en-GB" sz="1200" b="1" smtClean="0">
                  <a:solidFill>
                    <a:srgbClr val="FFFFFF"/>
                  </a:solidFill>
                </a:rPr>
                <a:t>MD / office / PMO</a:t>
              </a:r>
              <a:endParaRPr lang="en-GB" sz="1200" b="1" baseline="30000" smtClean="0">
                <a:solidFill>
                  <a:srgbClr val="FFFFFF"/>
                </a:solidFill>
              </a:endParaRPr>
            </a:p>
          </p:txBody>
        </p:sp>
        <p:sp>
          <p:nvSpPr>
            <p:cNvPr id="116746" name="Rectangle 15"/>
            <p:cNvSpPr>
              <a:spLocks noChangeArrowheads="1"/>
            </p:cNvSpPr>
            <p:nvPr/>
          </p:nvSpPr>
          <p:spPr bwMode="gray">
            <a:xfrm>
              <a:off x="3635042" y="4676384"/>
              <a:ext cx="2803449" cy="6480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878C96"/>
              </a:solidFill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dirty="0" smtClean="0">
                  <a:solidFill>
                    <a:srgbClr val="000000"/>
                  </a:solidFill>
                </a:rPr>
                <a:t>Joint office with 4 team members</a:t>
              </a:r>
            </a:p>
            <a:p>
              <a:pPr marL="177800" lvl="1" indent="-176213" algn="l" eaLnBrk="0" hangingPunct="0">
                <a:spcBef>
                  <a:spcPct val="15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en-GB" sz="1200" dirty="0" smtClean="0">
                  <a:solidFill>
                    <a:srgbClr val="000000"/>
                  </a:solidFill>
                </a:rPr>
                <a:t>Plus corridor coordinators at IMs (PIMs)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altLang="en-US" sz="900" dirty="0" smtClean="0"/>
              <a:t>© RFC Rhine-Alpine, May 2017</a:t>
            </a:r>
          </a:p>
        </p:txBody>
      </p:sp>
      <p:sp>
        <p:nvSpPr>
          <p:cNvPr id="52" name="Foliennummernplatzhalter 3"/>
          <p:cNvSpPr txBox="1">
            <a:spLocks/>
          </p:cNvSpPr>
          <p:nvPr/>
        </p:nvSpPr>
        <p:spPr bwMode="auto">
          <a:xfrm>
            <a:off x="8809038" y="6623985"/>
            <a:ext cx="1041400" cy="11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en-GB" altLang="en-US" sz="900" smtClean="0"/>
              <a:t> Chart No. </a:t>
            </a:r>
            <a:fld id="{6A35E8FA-C238-471D-98F2-AE0ED6BEA96D}" type="slidenum">
              <a:rPr lang="en-GB" altLang="en-US" sz="900" smtClean="0"/>
              <a:pPr/>
              <a:t>6</a:t>
            </a:fld>
            <a:endParaRPr lang="en-GB" altLang="en-US" sz="900" smtClean="0"/>
          </a:p>
        </p:txBody>
      </p:sp>
      <p:sp>
        <p:nvSpPr>
          <p:cNvPr id="8" name="Textfeld 7"/>
          <p:cNvSpPr txBox="1"/>
          <p:nvPr/>
        </p:nvSpPr>
        <p:spPr>
          <a:xfrm>
            <a:off x="588888" y="6165380"/>
            <a:ext cx="8740849" cy="276999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err="1" smtClean="0"/>
              <a:t>With</a:t>
            </a:r>
            <a:r>
              <a:rPr lang="de-DE" sz="1200" dirty="0" smtClean="0"/>
              <a:t> </a:t>
            </a:r>
            <a:r>
              <a:rPr lang="de-DE" sz="1200" dirty="0" err="1" smtClean="0"/>
              <a:t>Experts</a:t>
            </a:r>
            <a:r>
              <a:rPr lang="de-DE" sz="1200" dirty="0" smtClean="0"/>
              <a:t> </a:t>
            </a:r>
            <a:r>
              <a:rPr lang="de-DE" sz="1200" dirty="0" err="1" smtClean="0"/>
              <a:t>from</a:t>
            </a:r>
            <a:r>
              <a:rPr lang="de-DE" sz="1200" dirty="0" smtClean="0"/>
              <a:t> all </a:t>
            </a:r>
            <a:r>
              <a:rPr lang="de-DE" sz="1200" dirty="0" err="1" smtClean="0"/>
              <a:t>corridor</a:t>
            </a:r>
            <a:r>
              <a:rPr lang="de-DE" sz="1200" dirty="0" smtClean="0"/>
              <a:t> IMs/AB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929415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226568" y="404664"/>
            <a:ext cx="7462812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l" eaLnBrk="1" hangingPunct="1"/>
            <a:r>
              <a:rPr lang="en-GB" sz="2000">
                <a:solidFill>
                  <a:srgbClr val="000000"/>
                </a:solidFill>
                <a:cs typeface="Arial" pitchFamily="34" charset="0"/>
              </a:rPr>
              <a:t>Main focus of current </a:t>
            </a:r>
            <a:r>
              <a:rPr lang="en-GB" sz="2000" smtClean="0">
                <a:solidFill>
                  <a:srgbClr val="000000"/>
                </a:solidFill>
                <a:cs typeface="Arial" pitchFamily="34" charset="0"/>
              </a:rPr>
              <a:t>work in RFC Rhine-Alpine: </a:t>
            </a:r>
          </a:p>
          <a:p>
            <a:pPr algn="l" eaLnBrk="1" hangingPunct="1"/>
            <a:r>
              <a:rPr lang="en-GB" sz="2000" smtClean="0">
                <a:solidFill>
                  <a:srgbClr val="000000"/>
                </a:solidFill>
                <a:cs typeface="Arial" pitchFamily="34" charset="0"/>
              </a:rPr>
              <a:t>create added </a:t>
            </a:r>
            <a:r>
              <a:rPr lang="en-GB" sz="2000">
                <a:solidFill>
                  <a:srgbClr val="000000"/>
                </a:solidFill>
                <a:cs typeface="Arial" pitchFamily="34" charset="0"/>
              </a:rPr>
              <a:t>value for customers with five priority topics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5064065" y="2557603"/>
            <a:ext cx="3921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/>
            <a:r>
              <a:rPr lang="en-GB" b="1" smtClean="0">
                <a:solidFill>
                  <a:srgbClr val="000000"/>
                </a:solidFill>
                <a:latin typeface="DB Office"/>
                <a:cs typeface="Arial" pitchFamily="34" charset="0"/>
              </a:rPr>
              <a:t>Work priorities / main objectives</a:t>
            </a:r>
            <a:endParaRPr lang="en-GB" b="1">
              <a:solidFill>
                <a:srgbClr val="000000"/>
              </a:solidFill>
              <a:latin typeface="DB Office"/>
              <a:cs typeface="Arial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88380" y="3012739"/>
            <a:ext cx="367240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l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 focus on </a:t>
            </a:r>
            <a:r>
              <a:rPr lang="en-GB" b="1" dirty="0" smtClean="0">
                <a:solidFill>
                  <a:srgbClr val="000000"/>
                </a:solidFill>
              </a:rPr>
              <a:t>customer related topics</a:t>
            </a:r>
          </a:p>
          <a:p>
            <a:pPr marL="180975" indent="-180975" algn="l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 </a:t>
            </a:r>
            <a:r>
              <a:rPr lang="en-GB" b="1" dirty="0" smtClean="0">
                <a:solidFill>
                  <a:srgbClr val="000000"/>
                </a:solidFill>
              </a:rPr>
              <a:t>involve our customers early </a:t>
            </a:r>
            <a:r>
              <a:rPr lang="en-GB" dirty="0" smtClean="0">
                <a:solidFill>
                  <a:srgbClr val="000000"/>
                </a:solidFill>
              </a:rPr>
              <a:t>in the process</a:t>
            </a:r>
          </a:p>
          <a:p>
            <a:pPr marL="180975" indent="-180975" algn="l">
              <a:spcBef>
                <a:spcPts val="18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 work in a </a:t>
            </a:r>
            <a:r>
              <a:rPr lang="en-GB" b="1" dirty="0" smtClean="0">
                <a:solidFill>
                  <a:srgbClr val="000000"/>
                </a:solidFill>
              </a:rPr>
              <a:t>pragmatic way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572518" y="2492870"/>
            <a:ext cx="38763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hangingPunct="1"/>
            <a:r>
              <a:rPr lang="en-GB" b="1" smtClean="0">
                <a:solidFill>
                  <a:srgbClr val="000000"/>
                </a:solidFill>
                <a:latin typeface="DB Office"/>
                <a:cs typeface="Arial" pitchFamily="34" charset="0"/>
              </a:rPr>
              <a:t>General approach</a:t>
            </a:r>
            <a:endParaRPr lang="en-GB" b="1">
              <a:solidFill>
                <a:srgbClr val="000000"/>
              </a:solidFill>
              <a:latin typeface="DB Office"/>
              <a:cs typeface="Arial" pitchFamily="34" charset="0"/>
            </a:endParaRP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5029892" y="2865380"/>
            <a:ext cx="4459612" cy="0"/>
          </a:xfrm>
          <a:prstGeom prst="line">
            <a:avLst/>
          </a:prstGeom>
          <a:noFill/>
          <a:ln w="19050" cap="flat" cmpd="sng" algn="ctr">
            <a:solidFill>
              <a:srgbClr val="99A9C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25" name="Gerade Verbindung 24"/>
          <p:cNvCxnSpPr/>
          <p:nvPr/>
        </p:nvCxnSpPr>
        <p:spPr bwMode="auto">
          <a:xfrm>
            <a:off x="572518" y="2845221"/>
            <a:ext cx="3588270" cy="0"/>
          </a:xfrm>
          <a:prstGeom prst="line">
            <a:avLst/>
          </a:prstGeom>
          <a:noFill/>
          <a:ln w="19050" cap="flat" cmpd="sng" algn="ctr">
            <a:solidFill>
              <a:srgbClr val="99A9C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14" name="Textfeld 13"/>
          <p:cNvSpPr txBox="1"/>
          <p:nvPr/>
        </p:nvSpPr>
        <p:spPr>
          <a:xfrm>
            <a:off x="5025010" y="3032898"/>
            <a:ext cx="453650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 </a:t>
            </a:r>
            <a:r>
              <a:rPr lang="en-GB" b="1" dirty="0" smtClean="0">
                <a:solidFill>
                  <a:srgbClr val="000000"/>
                </a:solidFill>
              </a:rPr>
              <a:t>improve our capacity product</a:t>
            </a:r>
          </a:p>
          <a:p>
            <a:pPr marL="180975" indent="-180975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increase quality of performance </a:t>
            </a:r>
            <a:r>
              <a:rPr lang="en-GB" dirty="0">
                <a:solidFill>
                  <a:srgbClr val="000000"/>
                </a:solidFill>
              </a:rPr>
              <a:t>in international rail freight</a:t>
            </a:r>
          </a:p>
          <a:p>
            <a:pPr marL="180975" indent="-180975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improve coordination of works/TCR</a:t>
            </a:r>
          </a:p>
          <a:p>
            <a:pPr marL="180975" indent="-180975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 </a:t>
            </a:r>
            <a:r>
              <a:rPr lang="en-GB" b="1" dirty="0" smtClean="0">
                <a:solidFill>
                  <a:srgbClr val="000000"/>
                </a:solidFill>
              </a:rPr>
              <a:t>harmonise terms &amp; conditions, procedures, etc. </a:t>
            </a:r>
            <a:r>
              <a:rPr lang="en-GB" dirty="0" smtClean="0">
                <a:solidFill>
                  <a:srgbClr val="000000"/>
                </a:solidFill>
              </a:rPr>
              <a:t>related to IMs and RUs  (help of </a:t>
            </a:r>
            <a:r>
              <a:rPr lang="en-GB" dirty="0" err="1" smtClean="0">
                <a:solidFill>
                  <a:srgbClr val="000000"/>
                </a:solidFill>
              </a:rPr>
              <a:t>MoTs</a:t>
            </a:r>
            <a:r>
              <a:rPr lang="en-GB" dirty="0" smtClean="0">
                <a:solidFill>
                  <a:srgbClr val="000000"/>
                </a:solidFill>
              </a:rPr>
              <a:t> and NSAs needed)</a:t>
            </a:r>
          </a:p>
          <a:p>
            <a:pPr marL="180975" indent="-180975" algn="l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rgbClr val="000000"/>
                </a:solidFill>
              </a:rPr>
              <a:t>We</a:t>
            </a:r>
            <a:r>
              <a:rPr lang="en-GB" b="1" dirty="0" smtClean="0">
                <a:solidFill>
                  <a:srgbClr val="000000"/>
                </a:solidFill>
              </a:rPr>
              <a:t> support the improvement </a:t>
            </a:r>
            <a:r>
              <a:rPr lang="en-GB" dirty="0" smtClean="0">
                <a:solidFill>
                  <a:srgbClr val="000000"/>
                </a:solidFill>
              </a:rPr>
              <a:t>of quality and capacity </a:t>
            </a:r>
            <a:r>
              <a:rPr lang="en-GB" b="1" dirty="0" smtClean="0">
                <a:solidFill>
                  <a:srgbClr val="000000"/>
                </a:solidFill>
              </a:rPr>
              <a:t>of infrastructure </a:t>
            </a:r>
            <a:r>
              <a:rPr lang="en-GB" dirty="0" smtClean="0">
                <a:solidFill>
                  <a:srgbClr val="000000"/>
                </a:solidFill>
              </a:rPr>
              <a:t>and of </a:t>
            </a:r>
            <a:r>
              <a:rPr lang="en-GB" b="1" dirty="0" smtClean="0">
                <a:solidFill>
                  <a:srgbClr val="000000"/>
                </a:solidFill>
              </a:rPr>
              <a:t>interoperability</a:t>
            </a:r>
            <a:r>
              <a:rPr lang="en-GB" dirty="0" smtClean="0">
                <a:solidFill>
                  <a:srgbClr val="000000"/>
                </a:solidFill>
              </a:rPr>
              <a:t>/</a:t>
            </a:r>
            <a:r>
              <a:rPr lang="en-GB" b="1" dirty="0" smtClean="0">
                <a:solidFill>
                  <a:srgbClr val="000000"/>
                </a:solidFill>
              </a:rPr>
              <a:t>ERTMS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488380" y="1589863"/>
            <a:ext cx="8784976" cy="614967"/>
          </a:xfrm>
          <a:prstGeom prst="rect">
            <a:avLst/>
          </a:prstGeom>
          <a:solidFill>
            <a:srgbClr val="7797B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marR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b="1" dirty="0"/>
              <a:t>Mission RFC Rhine-Alpine: We create added value for our customers </a:t>
            </a:r>
          </a:p>
          <a:p>
            <a:r>
              <a:rPr lang="en-GB" b="1" dirty="0"/>
              <a:t>in international rail freight and support modal </a:t>
            </a:r>
            <a:r>
              <a:rPr lang="en-GB" b="1" dirty="0" smtClean="0"/>
              <a:t>shift</a:t>
            </a:r>
            <a:endParaRPr lang="en-GB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4232900" y="3688245"/>
            <a:ext cx="5760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4800" b="1" dirty="0" smtClean="0">
                <a:solidFill>
                  <a:srgbClr val="FFFFFF">
                    <a:lumMod val="50000"/>
                  </a:srgbClr>
                </a:solidFill>
              </a:rPr>
              <a:t>+</a:t>
            </a:r>
            <a:endParaRPr lang="en-GB" sz="4800" b="1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Fußzeilenplatzhalter 4"/>
          <p:cNvSpPr txBox="1">
            <a:spLocks/>
          </p:cNvSpPr>
          <p:nvPr/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B Office" pitchFamily="34" charset="0"/>
                <a:ea typeface="+mn-ea"/>
                <a:cs typeface="+mn-cs"/>
              </a:rPr>
              <a:t>© RFC Rhine-Alpine, May 2017</a:t>
            </a: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809038" y="6597440"/>
            <a:ext cx="1041400" cy="117475"/>
          </a:xfrm>
          <a:prstGeom prst="rect">
            <a:avLst/>
          </a:prstGeo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en-US" sz="900" dirty="0" smtClean="0"/>
              <a:t> Chart </a:t>
            </a:r>
            <a:r>
              <a:rPr lang="de-DE" altLang="en-US" sz="900" dirty="0" err="1" smtClean="0"/>
              <a:t>No</a:t>
            </a:r>
            <a:r>
              <a:rPr lang="de-DE" altLang="en-US" sz="900" dirty="0" smtClean="0"/>
              <a:t>. </a:t>
            </a:r>
            <a:fld id="{6A35E8FA-C238-471D-98F2-AE0ED6BEA96D}" type="slidenum">
              <a:rPr lang="de-DE" altLang="en-US" sz="900" smtClean="0"/>
              <a:pPr/>
              <a:t>7</a:t>
            </a:fld>
            <a:endParaRPr lang="de-DE" altLang="en-US" sz="900" dirty="0" smtClean="0"/>
          </a:p>
        </p:txBody>
      </p:sp>
    </p:spTree>
    <p:extLst>
      <p:ext uri="{BB962C8B-B14F-4D97-AF65-F5344CB8AC3E}">
        <p14:creationId xmlns:p14="http://schemas.microsoft.com/office/powerpoint/2010/main" val="388181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hteck 95"/>
          <p:cNvSpPr/>
          <p:nvPr/>
        </p:nvSpPr>
        <p:spPr bwMode="auto">
          <a:xfrm>
            <a:off x="2427873" y="1587649"/>
            <a:ext cx="6953805" cy="330899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endParaRPr lang="de-DE" sz="1200" b="1" smtClean="0">
              <a:solidFill>
                <a:srgbClr val="000000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56905" y="405036"/>
            <a:ext cx="7354284" cy="6477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000" dirty="0" smtClean="0">
                <a:solidFill>
                  <a:srgbClr val="000000"/>
                </a:solidFill>
                <a:latin typeface="DB Office"/>
              </a:rPr>
              <a:t>Train length: big progress in 2021, but full </a:t>
            </a:r>
            <a:r>
              <a:rPr lang="en-GB" sz="2000" dirty="0">
                <a:solidFill>
                  <a:srgbClr val="000000"/>
                </a:solidFill>
                <a:latin typeface="DB Office"/>
              </a:rPr>
              <a:t>benefit </a:t>
            </a:r>
            <a:r>
              <a:rPr lang="en-GB" sz="2000" dirty="0" smtClean="0">
                <a:solidFill>
                  <a:srgbClr val="000000"/>
                </a:solidFill>
                <a:latin typeface="DB Office"/>
              </a:rPr>
              <a:t>with 740m trains </a:t>
            </a:r>
            <a:r>
              <a:rPr lang="en-GB" sz="2000" dirty="0">
                <a:solidFill>
                  <a:srgbClr val="000000"/>
                </a:solidFill>
                <a:latin typeface="DB Office"/>
              </a:rPr>
              <a:t>only after </a:t>
            </a:r>
            <a:r>
              <a:rPr lang="en-GB" sz="2000" dirty="0" smtClean="0">
                <a:solidFill>
                  <a:srgbClr val="000000"/>
                </a:solidFill>
                <a:latin typeface="DB Office"/>
              </a:rPr>
              <a:t>upgrading of all </a:t>
            </a:r>
            <a:r>
              <a:rPr lang="en-GB" sz="2000" dirty="0">
                <a:solidFill>
                  <a:srgbClr val="000000"/>
                </a:solidFill>
                <a:latin typeface="DB Office"/>
              </a:rPr>
              <a:t>RFC </a:t>
            </a:r>
            <a:r>
              <a:rPr lang="en-GB" sz="2000" dirty="0" smtClean="0">
                <a:solidFill>
                  <a:srgbClr val="000000"/>
                </a:solidFill>
                <a:latin typeface="DB Office"/>
              </a:rPr>
              <a:t>lines</a:t>
            </a:r>
            <a:endParaRPr lang="en-GB" sz="2000" dirty="0">
              <a:solidFill>
                <a:srgbClr val="000000"/>
              </a:solidFill>
              <a:latin typeface="DB Office"/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162802" y="4896643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Future 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603877" y="4896643"/>
            <a:ext cx="1181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21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64077" y="4896643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20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43327" y="4896643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19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82890" y="4896643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18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5" name="Rectangle 1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890715" y="4896643"/>
            <a:ext cx="1181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17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sp>
        <p:nvSpPr>
          <p:cNvPr id="16" name="Rectangl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025527" y="4906168"/>
            <a:ext cx="1171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>
              <a:defRPr sz="20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1400" b="1" dirty="0" smtClean="0">
                <a:solidFill>
                  <a:srgbClr val="000000"/>
                </a:solidFill>
              </a:rPr>
              <a:t>2016</a:t>
            </a:r>
            <a:endParaRPr lang="en-US" altLang="de-DE" sz="1400" b="1" dirty="0">
              <a:solidFill>
                <a:srgbClr val="000000"/>
              </a:solidFill>
            </a:endParaRPr>
          </a:p>
        </p:txBody>
      </p:sp>
      <p:pic>
        <p:nvPicPr>
          <p:cNvPr id="39" name="Picture 128" descr="prorail_roodlogo"/>
          <p:cNvPicPr>
            <a:picLocks noChangeAspect="1" noChangeArrowheads="1"/>
          </p:cNvPicPr>
          <p:nvPr/>
        </p:nvPicPr>
        <p:blipFill>
          <a:blip r:embed="rId10" cstate="print"/>
          <a:srcRect t="31496" b="23097"/>
          <a:stretch>
            <a:fillRect/>
          </a:stretch>
        </p:blipFill>
        <p:spPr bwMode="auto">
          <a:xfrm>
            <a:off x="95338" y="1628800"/>
            <a:ext cx="1296034" cy="310504"/>
          </a:xfrm>
          <a:prstGeom prst="rect">
            <a:avLst/>
          </a:prstGeom>
          <a:solidFill>
            <a:srgbClr val="878C96">
              <a:alpha val="50195"/>
            </a:srgbClr>
          </a:solidFill>
          <a:ln w="9525">
            <a:noFill/>
            <a:miter lim="800000"/>
            <a:headEnd/>
            <a:tailEnd/>
          </a:ln>
        </p:spPr>
      </p:pic>
      <p:pic>
        <p:nvPicPr>
          <p:cNvPr id="40" name="Picture 129" descr="SBB_POS_2F_RGB_0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22510" y="4052045"/>
            <a:ext cx="1327838" cy="207971"/>
          </a:xfrm>
          <a:prstGeom prst="rect">
            <a:avLst/>
          </a:prstGeom>
          <a:solidFill>
            <a:srgbClr val="878C96">
              <a:alpha val="50195"/>
            </a:srgbClr>
          </a:solidFill>
          <a:ln w="9525">
            <a:noFill/>
            <a:miter lim="800000"/>
            <a:headEnd/>
            <a:tailEnd/>
          </a:ln>
        </p:spPr>
      </p:pic>
      <p:pic>
        <p:nvPicPr>
          <p:cNvPr id="41" name="Picture 130" descr="logo_bls_rgb_blau_jpg_98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99916" y="1890713"/>
            <a:ext cx="508760" cy="191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36" descr="logo-infrabel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16409" y="3051767"/>
            <a:ext cx="989438" cy="209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2" descr="K:\10 PMO - EEIG\902 Media\100 General\40 Documentation\Logos IMs\RFI\logoRFI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64915" y="4587602"/>
            <a:ext cx="851836" cy="275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91" y="2348880"/>
            <a:ext cx="908280" cy="274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Textfeld 45"/>
          <p:cNvSpPr txBox="1"/>
          <p:nvPr/>
        </p:nvSpPr>
        <p:spPr>
          <a:xfrm>
            <a:off x="1662454" y="4510133"/>
            <a:ext cx="7922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   540 m </a:t>
            </a:r>
            <a:br>
              <a:rPr lang="de-DE" sz="1200" b="1" dirty="0" smtClean="0">
                <a:solidFill>
                  <a:srgbClr val="000000"/>
                </a:solidFill>
              </a:rPr>
            </a:br>
            <a:r>
              <a:rPr lang="de-DE" sz="1200" b="1" dirty="0" smtClean="0">
                <a:solidFill>
                  <a:srgbClr val="000000"/>
                </a:solidFill>
              </a:rPr>
              <a:t>- 625 m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1813640" y="4017530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600 m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-87560" y="2546588"/>
            <a:ext cx="176521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100" b="1" dirty="0" smtClean="0">
                <a:solidFill>
                  <a:srgbClr val="000000"/>
                </a:solidFill>
              </a:rPr>
              <a:t>  </a:t>
            </a:r>
            <a:r>
              <a:rPr lang="de-DE" sz="1100" dirty="0" smtClean="0">
                <a:solidFill>
                  <a:srgbClr val="000000"/>
                </a:solidFill>
              </a:rPr>
              <a:t>Standard: 670-690 m, </a:t>
            </a:r>
            <a:r>
              <a:rPr lang="de-DE" sz="1100" dirty="0" err="1" smtClean="0">
                <a:solidFill>
                  <a:srgbClr val="000000"/>
                </a:solidFill>
              </a:rPr>
              <a:t>few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trains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with</a:t>
            </a:r>
            <a:r>
              <a:rPr lang="de-DE" sz="1100" dirty="0" smtClean="0">
                <a:solidFill>
                  <a:srgbClr val="000000"/>
                </a:solidFill>
              </a:rPr>
              <a:t> 740m</a:t>
            </a:r>
            <a:endParaRPr lang="de-DE" sz="1100" dirty="0">
              <a:solidFill>
                <a:srgbClr val="000000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1744560" y="1783849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740 m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-47735" y="3203759"/>
            <a:ext cx="159808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100" dirty="0" smtClean="0">
                <a:solidFill>
                  <a:srgbClr val="000000"/>
                </a:solidFill>
              </a:rPr>
              <a:t> Standard: 650 m </a:t>
            </a:r>
          </a:p>
          <a:p>
            <a:pPr>
              <a:spcBef>
                <a:spcPts val="0"/>
              </a:spcBef>
            </a:pPr>
            <a:r>
              <a:rPr lang="de-DE" sz="1100" dirty="0" err="1" smtClean="0">
                <a:solidFill>
                  <a:srgbClr val="000000"/>
                </a:solidFill>
              </a:rPr>
              <a:t>up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to</a:t>
            </a:r>
            <a:r>
              <a:rPr lang="de-DE" sz="1100" dirty="0" smtClean="0">
                <a:solidFill>
                  <a:srgbClr val="000000"/>
                </a:solidFill>
              </a:rPr>
              <a:t> 740 m </a:t>
            </a:r>
            <a:r>
              <a:rPr lang="de-DE" sz="1100" dirty="0" err="1" smtClean="0">
                <a:solidFill>
                  <a:srgbClr val="000000"/>
                </a:solidFill>
              </a:rPr>
              <a:t>with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special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permission</a:t>
            </a:r>
            <a:r>
              <a:rPr lang="de-DE" sz="1100" dirty="0" smtClean="0">
                <a:solidFill>
                  <a:srgbClr val="000000"/>
                </a:solidFill>
              </a:rPr>
              <a:t>/not </a:t>
            </a:r>
            <a:r>
              <a:rPr lang="de-DE" sz="1100" dirty="0" err="1" smtClean="0">
                <a:solidFill>
                  <a:srgbClr val="000000"/>
                </a:solidFill>
              </a:rPr>
              <a:t>during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peak</a:t>
            </a:r>
            <a:r>
              <a:rPr lang="de-DE" sz="1100" dirty="0" smtClean="0">
                <a:solidFill>
                  <a:srgbClr val="000000"/>
                </a:solidFill>
              </a:rPr>
              <a:t> </a:t>
            </a:r>
            <a:r>
              <a:rPr lang="de-DE" sz="1100" dirty="0" err="1" smtClean="0">
                <a:solidFill>
                  <a:srgbClr val="000000"/>
                </a:solidFill>
              </a:rPr>
              <a:t>hours</a:t>
            </a:r>
            <a:r>
              <a:rPr lang="en-GB" sz="1100" dirty="0" smtClean="0">
                <a:solidFill>
                  <a:srgbClr val="000000"/>
                </a:solidFill>
              </a:rPr>
              <a:t> </a:t>
            </a:r>
            <a:endParaRPr lang="en-GB" sz="1100" dirty="0">
              <a:solidFill>
                <a:srgbClr val="000000"/>
              </a:solidFill>
            </a:endParaRPr>
          </a:p>
        </p:txBody>
      </p:sp>
      <p:cxnSp>
        <p:nvCxnSpPr>
          <p:cNvPr id="60" name="Gewinkelte Verbindung 59"/>
          <p:cNvCxnSpPr/>
          <p:nvPr/>
        </p:nvCxnSpPr>
        <p:spPr bwMode="auto">
          <a:xfrm flipV="1">
            <a:off x="2628886" y="1908755"/>
            <a:ext cx="6343431" cy="1314259"/>
          </a:xfrm>
          <a:prstGeom prst="bentConnector3">
            <a:avLst>
              <a:gd name="adj1" fmla="val 94146"/>
            </a:avLst>
          </a:prstGeom>
          <a:solidFill>
            <a:schemeClr val="accent1"/>
          </a:solidFill>
          <a:ln w="15875" cap="flat" cmpd="dbl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Gewinkelte Verbindung 60"/>
          <p:cNvCxnSpPr/>
          <p:nvPr/>
        </p:nvCxnSpPr>
        <p:spPr bwMode="auto">
          <a:xfrm flipV="1">
            <a:off x="2605310" y="1908756"/>
            <a:ext cx="6343431" cy="777902"/>
          </a:xfrm>
          <a:prstGeom prst="bentConnector3">
            <a:avLst>
              <a:gd name="adj1" fmla="val 97599"/>
            </a:avLst>
          </a:prstGeom>
          <a:solidFill>
            <a:schemeClr val="accent1"/>
          </a:solidFill>
          <a:ln w="158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Gerade Verbindung 71"/>
          <p:cNvCxnSpPr/>
          <p:nvPr/>
        </p:nvCxnSpPr>
        <p:spPr bwMode="auto">
          <a:xfrm>
            <a:off x="2576735" y="1908755"/>
            <a:ext cx="669674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Abgerundetes Rechteck 78"/>
          <p:cNvSpPr/>
          <p:nvPr/>
        </p:nvSpPr>
        <p:spPr bwMode="auto">
          <a:xfrm>
            <a:off x="3448460" y="2725400"/>
            <a:ext cx="2453319" cy="430938"/>
          </a:xfrm>
          <a:prstGeom prst="roundRect">
            <a:avLst/>
          </a:prstGeom>
          <a:solidFill>
            <a:srgbClr val="FF7C80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r>
              <a:rPr lang="en-GB" sz="1200" b="1" dirty="0" smtClean="0">
                <a:solidFill>
                  <a:srgbClr val="000000"/>
                </a:solidFill>
              </a:rPr>
              <a:t>Projects in DE and BE are </a:t>
            </a:r>
            <a:br>
              <a:rPr lang="en-GB" sz="1200" b="1" dirty="0" smtClean="0">
                <a:solidFill>
                  <a:srgbClr val="000000"/>
                </a:solidFill>
              </a:rPr>
            </a:br>
            <a:r>
              <a:rPr lang="en-GB" sz="1200" b="1" dirty="0" smtClean="0">
                <a:solidFill>
                  <a:srgbClr val="000000"/>
                </a:solidFill>
              </a:rPr>
              <a:t>not yet scheduled and financed</a:t>
            </a:r>
          </a:p>
        </p:txBody>
      </p:sp>
      <p:sp>
        <p:nvSpPr>
          <p:cNvPr id="82" name="Textfeld 81"/>
          <p:cNvSpPr txBox="1"/>
          <p:nvPr/>
        </p:nvSpPr>
        <p:spPr>
          <a:xfrm>
            <a:off x="8808218" y="2089133"/>
            <a:ext cx="5760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4000" b="1" dirty="0" smtClean="0">
                <a:solidFill>
                  <a:srgbClr val="000000"/>
                </a:solidFill>
              </a:rPr>
              <a:t>?</a:t>
            </a:r>
            <a:endParaRPr lang="de-DE" sz="4000" b="1" dirty="0">
              <a:solidFill>
                <a:srgbClr val="000000"/>
              </a:solidFill>
            </a:endParaRPr>
          </a:p>
        </p:txBody>
      </p:sp>
      <p:sp>
        <p:nvSpPr>
          <p:cNvPr id="85" name="Richtungspfeil 84"/>
          <p:cNvSpPr/>
          <p:nvPr/>
        </p:nvSpPr>
        <p:spPr bwMode="auto">
          <a:xfrm>
            <a:off x="3444907" y="4212391"/>
            <a:ext cx="2765351" cy="465451"/>
          </a:xfrm>
          <a:prstGeom prst="homePlat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r>
              <a:rPr lang="en-GB" sz="1200" b="1" dirty="0">
                <a:solidFill>
                  <a:srgbClr val="000000"/>
                </a:solidFill>
              </a:rPr>
              <a:t>Projects in CH and IT are </a:t>
            </a:r>
            <a:r>
              <a:rPr lang="en-GB" sz="1200" b="1" dirty="0" smtClean="0">
                <a:solidFill>
                  <a:srgbClr val="000000"/>
                </a:solidFill>
              </a:rPr>
              <a:t/>
            </a:r>
            <a:br>
              <a:rPr lang="en-GB" sz="1200" b="1" dirty="0" smtClean="0">
                <a:solidFill>
                  <a:srgbClr val="000000"/>
                </a:solidFill>
              </a:rPr>
            </a:br>
            <a:r>
              <a:rPr lang="en-GB" sz="1200" b="1" dirty="0" smtClean="0">
                <a:solidFill>
                  <a:srgbClr val="000000"/>
                </a:solidFill>
              </a:rPr>
              <a:t>scheduled </a:t>
            </a:r>
            <a:r>
              <a:rPr lang="en-GB" sz="1200" b="1" dirty="0">
                <a:solidFill>
                  <a:srgbClr val="000000"/>
                </a:solidFill>
              </a:rPr>
              <a:t>and financed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99" name="Richtungspfeil 98"/>
          <p:cNvSpPr/>
          <p:nvPr/>
        </p:nvSpPr>
        <p:spPr bwMode="auto">
          <a:xfrm rot="16200000">
            <a:off x="7610961" y="3482515"/>
            <a:ext cx="877395" cy="373788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endParaRPr lang="de-DE" sz="1200" b="1" smtClean="0">
              <a:solidFill>
                <a:srgbClr val="000000"/>
              </a:solidFill>
            </a:endParaRPr>
          </a:p>
        </p:txBody>
      </p:sp>
      <p:sp>
        <p:nvSpPr>
          <p:cNvPr id="98" name="Textfeld 97"/>
          <p:cNvSpPr txBox="1"/>
          <p:nvPr/>
        </p:nvSpPr>
        <p:spPr>
          <a:xfrm>
            <a:off x="7844034" y="3614693"/>
            <a:ext cx="4683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min.</a:t>
            </a:r>
            <a:br>
              <a:rPr lang="de-DE" sz="1000" dirty="0" smtClean="0">
                <a:solidFill>
                  <a:srgbClr val="000000"/>
                </a:solidFill>
              </a:rPr>
            </a:br>
            <a:r>
              <a:rPr lang="de-DE" sz="1000" dirty="0" smtClean="0">
                <a:solidFill>
                  <a:srgbClr val="000000"/>
                </a:solidFill>
              </a:rPr>
              <a:t>70 m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100" name="Richtungspfeil 99"/>
          <p:cNvSpPr/>
          <p:nvPr/>
        </p:nvSpPr>
        <p:spPr bwMode="auto">
          <a:xfrm rot="16200000">
            <a:off x="6611260" y="3538417"/>
            <a:ext cx="1973646" cy="373788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</a:endParaRPr>
          </a:p>
        </p:txBody>
      </p:sp>
      <p:sp>
        <p:nvSpPr>
          <p:cNvPr id="101" name="Textfeld 100"/>
          <p:cNvSpPr txBox="1"/>
          <p:nvPr/>
        </p:nvSpPr>
        <p:spPr>
          <a:xfrm>
            <a:off x="7335997" y="3679744"/>
            <a:ext cx="5389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000" dirty="0">
                <a:solidFill>
                  <a:srgbClr val="000000"/>
                </a:solidFill>
              </a:rPr>
              <a:t>m</a:t>
            </a:r>
            <a:r>
              <a:rPr lang="de-DE" sz="1000" dirty="0" smtClean="0">
                <a:solidFill>
                  <a:srgbClr val="000000"/>
                </a:solidFill>
              </a:rPr>
              <a:t>ax.</a:t>
            </a:r>
            <a:br>
              <a:rPr lang="de-DE" sz="1000" dirty="0" smtClean="0">
                <a:solidFill>
                  <a:srgbClr val="000000"/>
                </a:solidFill>
              </a:rPr>
            </a:br>
            <a:r>
              <a:rPr lang="de-DE" sz="1000" dirty="0" smtClean="0">
                <a:solidFill>
                  <a:srgbClr val="000000"/>
                </a:solidFill>
              </a:rPr>
              <a:t>150 m</a:t>
            </a:r>
            <a:endParaRPr lang="de-DE" sz="1000" dirty="0">
              <a:solidFill>
                <a:srgbClr val="000000"/>
              </a:solidFill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1784648" y="3077424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650 m</a:t>
            </a:r>
            <a:endParaRPr lang="de-DE" sz="1200" b="1" dirty="0">
              <a:solidFill>
                <a:srgbClr val="000000"/>
              </a:solidFill>
            </a:endParaRPr>
          </a:p>
        </p:txBody>
      </p:sp>
      <p:sp>
        <p:nvSpPr>
          <p:cNvPr id="104" name="Textfeld 103"/>
          <p:cNvSpPr txBox="1"/>
          <p:nvPr/>
        </p:nvSpPr>
        <p:spPr>
          <a:xfrm>
            <a:off x="1772481" y="2534499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690 m</a:t>
            </a:r>
            <a:endParaRPr lang="de-DE" sz="1200" b="1" dirty="0">
              <a:solidFill>
                <a:srgbClr val="000000"/>
              </a:solidFill>
            </a:endParaRPr>
          </a:p>
        </p:txBody>
      </p:sp>
      <p:cxnSp>
        <p:nvCxnSpPr>
          <p:cNvPr id="107" name="Gewinkelte Verbindung 106"/>
          <p:cNvCxnSpPr/>
          <p:nvPr/>
        </p:nvCxnSpPr>
        <p:spPr bwMode="auto">
          <a:xfrm flipV="1">
            <a:off x="2595154" y="1951286"/>
            <a:ext cx="4590094" cy="2774182"/>
          </a:xfrm>
          <a:prstGeom prst="bentConnector3">
            <a:avLst>
              <a:gd name="adj1" fmla="val 100010"/>
            </a:avLst>
          </a:prstGeom>
          <a:solidFill>
            <a:schemeClr val="accent1"/>
          </a:solidFill>
          <a:ln w="15875" cap="flat" cmpd="sng" algn="ctr">
            <a:solidFill>
              <a:srgbClr val="0066FF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6" name="Gewinkelte Verbindung 115"/>
          <p:cNvCxnSpPr/>
          <p:nvPr/>
        </p:nvCxnSpPr>
        <p:spPr bwMode="auto">
          <a:xfrm flipV="1">
            <a:off x="2576735" y="1966372"/>
            <a:ext cx="4745442" cy="2189658"/>
          </a:xfrm>
          <a:prstGeom prst="bentConnector3">
            <a:avLst>
              <a:gd name="adj1" fmla="val 99979"/>
            </a:avLst>
          </a:prstGeom>
          <a:solidFill>
            <a:schemeClr val="accent1"/>
          </a:solidFill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189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Textfeld 128"/>
          <p:cNvSpPr txBox="1"/>
          <p:nvPr/>
        </p:nvSpPr>
        <p:spPr>
          <a:xfrm>
            <a:off x="194173" y="5443844"/>
            <a:ext cx="9411551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GB" b="1" dirty="0" smtClean="0">
                <a:solidFill>
                  <a:srgbClr val="000000"/>
                </a:solidFill>
              </a:rPr>
              <a:t>RFI and SBB prepare for regular operations with 740 m long trains until the end of 2020/21</a:t>
            </a:r>
          </a:p>
          <a:p>
            <a:pPr marL="285750" indent="-285750" algn="l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en-GB" b="1" dirty="0" smtClean="0">
                <a:solidFill>
                  <a:srgbClr val="000000"/>
                </a:solidFill>
              </a:rPr>
              <a:t>As long as 740 m is only possible for very few trains in Belgium and Germany, an estimated</a:t>
            </a:r>
            <a:br>
              <a:rPr lang="en-GB" b="1" dirty="0" smtClean="0">
                <a:solidFill>
                  <a:srgbClr val="000000"/>
                </a:solidFill>
              </a:rPr>
            </a:br>
            <a:r>
              <a:rPr lang="en-GB" b="1" dirty="0" smtClean="0">
                <a:solidFill>
                  <a:srgbClr val="000000"/>
                </a:solidFill>
              </a:rPr>
              <a:t>variable of 50 – 70 m train length can mostly not be used on main parts of the Corridor </a:t>
            </a:r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130" name="Textfeld 129"/>
          <p:cNvSpPr txBox="1"/>
          <p:nvPr/>
        </p:nvSpPr>
        <p:spPr>
          <a:xfrm>
            <a:off x="423805" y="5024435"/>
            <a:ext cx="16017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de-DE" sz="1000" dirty="0" smtClean="0">
                <a:solidFill>
                  <a:srgbClr val="000000"/>
                </a:solidFill>
              </a:rPr>
              <a:t>*</a:t>
            </a:r>
            <a:r>
              <a:rPr lang="en-GB" sz="1000" dirty="0" smtClean="0">
                <a:solidFill>
                  <a:srgbClr val="000000"/>
                </a:solidFill>
              </a:rPr>
              <a:t>Assumed average value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33" name="Rechteck 132"/>
          <p:cNvSpPr/>
          <p:nvPr/>
        </p:nvSpPr>
        <p:spPr bwMode="auto">
          <a:xfrm>
            <a:off x="194173" y="5443844"/>
            <a:ext cx="9440241" cy="984885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endParaRPr lang="de-DE" sz="1200" b="1" smtClean="0">
              <a:solidFill>
                <a:srgbClr val="000000"/>
              </a:solidFill>
            </a:endParaRPr>
          </a:p>
        </p:txBody>
      </p:sp>
      <p:sp>
        <p:nvSpPr>
          <p:cNvPr id="44" name="Fußzeilenplatzhalter 4"/>
          <p:cNvSpPr txBox="1">
            <a:spLocks/>
          </p:cNvSpPr>
          <p:nvPr/>
        </p:nvSpPr>
        <p:spPr>
          <a:xfrm>
            <a:off x="200025" y="6692900"/>
            <a:ext cx="3708400" cy="93663"/>
          </a:xfrm>
          <a:prstGeom prst="rect">
            <a:avLst/>
          </a:prstGeom>
          <a:noFill/>
        </p:spPr>
        <p:txBody>
          <a:bodyPr vert="horz" lIns="95875" tIns="47937" rIns="95875" bIns="47937" rtlCol="0"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DB Office" pitchFamily="34" charset="0"/>
                <a:ea typeface="+mn-ea"/>
                <a:cs typeface="+mn-cs"/>
              </a:defRPr>
            </a:lvl9pPr>
          </a:lstStyle>
          <a:p>
            <a:r>
              <a:rPr lang="en-GB" altLang="en-US" sz="900" dirty="0" smtClean="0"/>
              <a:t>© RFC Rhine-Alpine, May 2017</a:t>
            </a:r>
          </a:p>
        </p:txBody>
      </p:sp>
      <p:sp>
        <p:nvSpPr>
          <p:cNvPr id="45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809038" y="6597440"/>
            <a:ext cx="1041400" cy="117475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en-US" sz="900" dirty="0" smtClean="0"/>
              <a:t> Chart </a:t>
            </a:r>
            <a:r>
              <a:rPr lang="de-DE" altLang="en-US" sz="900" dirty="0" err="1" smtClean="0"/>
              <a:t>No</a:t>
            </a:r>
            <a:r>
              <a:rPr lang="de-DE" altLang="en-US" sz="900" dirty="0" smtClean="0"/>
              <a:t>. </a:t>
            </a:r>
            <a:fld id="{6A35E8FA-C238-471D-98F2-AE0ED6BEA96D}" type="slidenum">
              <a:rPr lang="de-DE" altLang="en-US" sz="900" smtClean="0"/>
              <a:pPr/>
              <a:t>8</a:t>
            </a:fld>
            <a:endParaRPr lang="de-DE" altLang="en-US" sz="900" dirty="0" smtClean="0"/>
          </a:p>
        </p:txBody>
      </p:sp>
    </p:spTree>
    <p:extLst>
      <p:ext uri="{BB962C8B-B14F-4D97-AF65-F5344CB8AC3E}">
        <p14:creationId xmlns:p14="http://schemas.microsoft.com/office/powerpoint/2010/main" val="356385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9" name="Fußzeilenplatzhalt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en-GB" altLang="en-US" sz="900" dirty="0" smtClean="0"/>
              <a:t>© RFC Rhine-Alpine, May 2017</a:t>
            </a:r>
            <a:endParaRPr lang="de-DE" altLang="en-US" sz="900" dirty="0" smtClean="0"/>
          </a:p>
        </p:txBody>
      </p:sp>
      <p:sp>
        <p:nvSpPr>
          <p:cNvPr id="23560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809038" y="6669088"/>
            <a:ext cx="1041400" cy="117475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r>
              <a:rPr lang="de-DE" altLang="en-US" sz="900" smtClean="0"/>
              <a:t> Chart </a:t>
            </a:r>
            <a:r>
              <a:rPr lang="de-DE" altLang="en-US" sz="900" err="1" smtClean="0"/>
              <a:t>No</a:t>
            </a:r>
            <a:r>
              <a:rPr lang="de-DE" altLang="en-US" sz="900" smtClean="0"/>
              <a:t>. </a:t>
            </a:r>
            <a:fld id="{DAC2EB01-1F4F-443E-AC5D-3097808783DD}" type="slidenum">
              <a:rPr lang="de-DE" altLang="en-US" sz="900" smtClean="0"/>
              <a:pPr/>
              <a:t>9</a:t>
            </a:fld>
            <a:endParaRPr lang="de-DE" altLang="en-US" sz="90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905" y="1459932"/>
            <a:ext cx="7271270" cy="4849468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0800000" flipV="1">
            <a:off x="200339" y="393539"/>
            <a:ext cx="70569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  <a:defRPr/>
            </a:pPr>
            <a:r>
              <a:rPr lang="en-GB" sz="3600" b="1" dirty="0" smtClean="0">
                <a:solidFill>
                  <a:srgbClr val="0033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 for your attention!</a:t>
            </a:r>
            <a:endParaRPr lang="en-GB" sz="3600" b="1" dirty="0">
              <a:solidFill>
                <a:srgbClr val="0033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NS_1" val="ppEffectCoverLeftDown"/>
  <p:tag name="TRANS_0" val="ppEffectNone"/>
  <p:tag name="TRANS_COUNT" val="2"/>
  <p:tag name="OPTIONS_SOUND" val="Falsch"/>
  <p:tag name="OPTIONS_VIDEO" val="Falsch"/>
  <p:tag name="OPTIONS_OBJECTANIMATION" val="Falsch"/>
  <p:tag name="OPTIONS_TEXTANIMATION" val="Falsch"/>
  <p:tag name="PAGESETUP_O" val="1"/>
  <p:tag name="PAGESETUP_H" val="540"/>
  <p:tag name="PAGESETUP_W" val="780"/>
  <p:tag name="SC_8" val="16777215"/>
  <p:tag name="SC_7" val="15395562"/>
  <p:tag name="SC_6" val="15854824"/>
  <p:tag name="SC_5" val="12165005"/>
  <p:tag name="SC_4" val="6684672"/>
  <p:tag name="SC_3" val="39423"/>
  <p:tag name="SC_2" val="3507008"/>
  <p:tag name="SC_1" val="255"/>
  <p:tag name="THC_1" val="255"/>
  <p:tag name="PC_8" val="15196894"/>
  <p:tag name="PC_7" val="12165005"/>
  <p:tag name="PC_6" val="6684672"/>
  <p:tag name="PC_5" val="12632256"/>
  <p:tag name="PC_4" val="0"/>
  <p:tag name="PC_3" val="9868950"/>
  <p:tag name="PC_2" val="0"/>
  <p:tag name="PC_1" val="16777215"/>
  <p:tag name="NM_PAGEN_FONT_C" val="0"/>
  <p:tag name="NM_PAGEN_FONT_S" val="12"/>
  <p:tag name="NM_PAGEN_FONT" val="Arial"/>
  <p:tag name="NM_PAGEN_H" val="39"/>
  <p:tag name="NM_PAGEN_W" val="234,875"/>
  <p:tag name="NM_PAGEN_L" val="307,125"/>
  <p:tag name="NM_PAGEN_T" val="741"/>
  <p:tag name="NM_NOTES_FONT_C" val="0"/>
  <p:tag name="NM_NOTES_FONT_S" val="12"/>
  <p:tag name="NM_NOTES_FONT" val="Arial"/>
  <p:tag name="NM_NOTES_H" val="351"/>
  <p:tag name="NM_NOTES_W" val="397,5"/>
  <p:tag name="NM_NOTES_L" val="72,25"/>
  <p:tag name="NM_NOTES_T" val="370,5"/>
  <p:tag name="NM_DATE_FONT_C" val="0"/>
  <p:tag name="NM_DATE_FONT_S" val="12"/>
  <p:tag name="NM_DATE_FONT" val="Arial"/>
  <p:tag name="NM_DATE_H" val="39"/>
  <p:tag name="NM_DATE_W" val="234,875"/>
  <p:tag name="NM_DATE_L" val="307,125"/>
  <p:tag name="NM_DATE_T" val="0"/>
  <p:tag name="NM_FOOTER_FONT_C" val="0"/>
  <p:tag name="NM_FOOTER_FONT_S" val="12"/>
  <p:tag name="NM_FOOTER_FONT" val="Arial"/>
  <p:tag name="NM_FOOTER_H" val="39"/>
  <p:tag name="NM_FOOTER_W" val="234,875"/>
  <p:tag name="NM_FOOTER_L" val="0"/>
  <p:tag name="NM_FOOTER_T" val="741"/>
  <p:tag name="NM_PREVIEW_FONT_C" val="16777215"/>
  <p:tag name="NM_PREVIEW_FONT_S" val=""/>
  <p:tag name="NM_PREVIEW_H" val="292,5"/>
  <p:tag name="NM_PREVIEW_W" val="422,5"/>
  <p:tag name="NM_PREVIEW_L" val="59,75"/>
  <p:tag name="NM_PREVIEW_T" val="58,5"/>
  <p:tag name="NM_HEADER_FONT_C" val="0"/>
  <p:tag name="NM_HEADER_FONT_S" val="12"/>
  <p:tag name="NM_HEADER_FONT" val="Arial"/>
  <p:tag name="NM_HEADER_H" val="39"/>
  <p:tag name="NM_HEADER_W" val="234,875"/>
  <p:tag name="NM_HEADER_L" val="0"/>
  <p:tag name="NM_HEADER_T" val="0"/>
  <p:tag name="HM_PAGEN_FONT_C" val="0"/>
  <p:tag name="HM_PAGEN_FONT_S" val="12"/>
  <p:tag name="HM_PAGEN_FONT" val="Arial"/>
  <p:tag name="HM_PAGEN_H" val="35,875"/>
  <p:tag name="HM_PAGEN_W" val="230,875"/>
  <p:tag name="HM_PAGEN_L" val="309,875"/>
  <p:tag name="HM_PAGEN_T" val="742,5"/>
  <p:tag name="HM_DATE_FONT_C" val="0"/>
  <p:tag name="HM_DATE_FONT_S" val="12"/>
  <p:tag name="HM_DATE_FONT" val="Arial"/>
  <p:tag name="HM_DATE_H" val="41,875"/>
  <p:tag name="HM_DATE_W" val="230,875"/>
  <p:tag name="HM_DATE_L" val="309,875"/>
  <p:tag name="HM_DATE_T" val="0"/>
  <p:tag name="HM_FOOTER_FONT_C" val="0"/>
  <p:tag name="HM_FOOTER_FONT_S" val="12"/>
  <p:tag name="HM_FOOTER_FONT" val="Arial"/>
  <p:tag name="HM_FOOTER_H" val="35,875"/>
  <p:tag name="HM_FOOTER_W" val="237"/>
  <p:tag name="HM_FOOTER_L" val="0"/>
  <p:tag name="HM_FOOTER_T" val="742,5"/>
  <p:tag name="HM_HEADER_FONT_C" val="0"/>
  <p:tag name="HM_HEADER_FONT_S" val="12"/>
  <p:tag name="HM_HEADER_FONT" val="Arial"/>
  <p:tag name="HM_HEADER_H" val="41,875"/>
  <p:tag name="HM_HEADER_W" val="237"/>
  <p:tag name="HM_HEADER_L" val="0"/>
  <p:tag name="HM_HEADER_T" val="0"/>
  <p:tag name="TM_STITLE_FONT_C" val="0"/>
  <p:tag name="TM_STITLE_FONT_S" val="28"/>
  <p:tag name="TM_STITLE_FONT" val="Arial"/>
  <p:tag name="TM_STITLE_H" val="68"/>
  <p:tag name="TM_STITLE_W" val="748,5"/>
  <p:tag name="TM_STITLE_L" val="15,75"/>
  <p:tag name="TM_STITLE_T" val="355,125"/>
  <p:tag name="TM_TITLE_FONT_C" val="0"/>
  <p:tag name="TM_TITLE_FONT_S" val="28"/>
  <p:tag name="TM_TITLE_FONT" val="Arial"/>
  <p:tag name="TM_TITLE_H" val="68"/>
  <p:tag name="TM_TITLE_W" val="748,5"/>
  <p:tag name="TM_TITLE_L" val="15,75"/>
  <p:tag name="TM_TITLE_T" val="281,375"/>
  <p:tag name="SM_PAGEN_FONT_C" val="16777215"/>
  <p:tag name="SM_PAGEN_FONT_S" val=""/>
  <p:tag name="SM_PAGEN_FONT" val=""/>
  <p:tag name="SM_PAGEN_H" val=""/>
  <p:tag name="SM_PAGEN_W" val=""/>
  <p:tag name="SM_PAGEN_L" val=""/>
  <p:tag name="SM_PAGEN_T" val=""/>
  <p:tag name="SM_FOOTER_FONT_C" val="16777215"/>
  <p:tag name="SM_FOOTER_FONT_S" val=""/>
  <p:tag name="SM_FOOTER_FONT" val=""/>
  <p:tag name="SM_FOOTER_H" val=""/>
  <p:tag name="SM_FOOTER_W" val=""/>
  <p:tag name="SM_FOOTER_L" val=""/>
  <p:tag name="SM_FOOTER_T" val=""/>
  <p:tag name="SM_DATE_FONT_C" val="0"/>
  <p:tag name="SM_DATE_FONT_S" val="9"/>
  <p:tag name="SM_DATE_FONT" val="Arial"/>
  <p:tag name="SM_DATE_H" val="7,375"/>
  <p:tag name="SM_DATE_W" val="150"/>
  <p:tag name="SM_DATE_L" val="315"/>
  <p:tag name="SM_DATE_T" val="527"/>
  <p:tag name="SM_AUTOLAYOUT_FONT_C" val="0"/>
  <p:tag name="SM_AUTOLAYOUT_FONT_S" val="18"/>
  <p:tag name="SM_AUTOLAYOUT_FONT" val="Arial"/>
  <p:tag name="SM_AUTOLAYOUT_H" val="385,625"/>
  <p:tag name="SM_AUTOLAYOUT_W" val="748,5"/>
  <p:tag name="SM_AUTOLAYOUT_L" val="15,75"/>
  <p:tag name="SM_AUTOLAYOUT_T" val="122,625"/>
  <p:tag name="SM_TITLE_FONT_C" val="0"/>
  <p:tag name="SM_TITLE_FONT_S" val="20"/>
  <p:tag name="SM_TITLE_FONT" val="Arial"/>
  <p:tag name="SM_TITLE_H" val="51"/>
  <p:tag name="SM_TITLE_W" val="601"/>
  <p:tag name="SM_TITLE_L" val="15,75"/>
  <p:tag name="SM_TITLE_T" val="31,875"/>
  <p:tag name="MASTER" val="DB NETZE.pot"/>
  <p:tag name="CREATEDBY" val="TW_CP"/>
  <p:tag name="LANGUAGE" val="germa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beA9P_4ki5IxwrGBU9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HmaUkIsH0KzZItcqzT5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beA9P_4ki5IxwrGBU9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beA9P_4ki5IxwrGBU9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beA9P_4ki5IxwrGBU9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QA2nO9Wk.cZKY7kxUx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QA2nO9Wk.cZKY7kxUx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QA2nO9Wk.cZKY7kxUx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8.11.2006 10:36:5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QA2nO9Wk.cZKY7kxUx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QA2nO9Wk.cZKY7kxUx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AafcuUybEe3gAR_ps6m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ETxB_zrKUq6WStpewUf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t1LkzDpkCZuyv29r3c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LBLL6hwNUisMrl3gcEV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pfErxFLrkCfS_9jeveJ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NNYwsH2Eq7sxB_t3mK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Yla545pEm7.GOqFK6U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08.11.2006 10:36:5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Die Bahn_2003">
  <a:themeElements>
    <a:clrScheme name="Die Bahn_2003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Die Bahn_2003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lnDef>
  </a:objectDefaults>
  <a:extraClrSchemeLst>
    <a:extraClrScheme>
      <a:clrScheme name="Die Bahn_2003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Standarddesign">
  <a:themeElements>
    <a:clrScheme name="Standarddesign 8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C0C0C0"/>
      </a:accent1>
      <a:accent2>
        <a:srgbClr val="330099"/>
      </a:accent2>
      <a:accent3>
        <a:srgbClr val="FFFFFF"/>
      </a:accent3>
      <a:accent4>
        <a:srgbClr val="000000"/>
      </a:accent4>
      <a:accent5>
        <a:srgbClr val="DCDCDC"/>
      </a:accent5>
      <a:accent6>
        <a:srgbClr val="2D008A"/>
      </a:accent6>
      <a:hlink>
        <a:srgbClr val="8D9FB9"/>
      </a:hlink>
      <a:folHlink>
        <a:srgbClr val="DEE2E7"/>
      </a:folHlink>
    </a:clrScheme>
    <a:fontScheme name="Standarddesign">
      <a:majorFont>
        <a:latin typeface="Arial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07763" dir="189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07763" dir="189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0C0C0"/>
        </a:accent1>
        <a:accent2>
          <a:srgbClr val="330099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2D008A"/>
        </a:accent6>
        <a:hlink>
          <a:srgbClr val="8D9FB9"/>
        </a:hlink>
        <a:folHlink>
          <a:srgbClr val="DEE2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7_Standarddesign">
  <a:themeElements>
    <a:clrScheme name="Standarddesign 8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C0C0C0"/>
      </a:accent1>
      <a:accent2>
        <a:srgbClr val="330099"/>
      </a:accent2>
      <a:accent3>
        <a:srgbClr val="FFFFFF"/>
      </a:accent3>
      <a:accent4>
        <a:srgbClr val="000000"/>
      </a:accent4>
      <a:accent5>
        <a:srgbClr val="DCDCDC"/>
      </a:accent5>
      <a:accent6>
        <a:srgbClr val="2D008A"/>
      </a:accent6>
      <a:hlink>
        <a:srgbClr val="8D9FB9"/>
      </a:hlink>
      <a:folHlink>
        <a:srgbClr val="DEE2E7"/>
      </a:folHlink>
    </a:clrScheme>
    <a:fontScheme name="Standarddesign">
      <a:majorFont>
        <a:latin typeface="Arial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07763" dir="189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107763" dir="189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0C0C0"/>
        </a:accent1>
        <a:accent2>
          <a:srgbClr val="330099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2D008A"/>
        </a:accent6>
        <a:hlink>
          <a:srgbClr val="8D9FB9"/>
        </a:hlink>
        <a:folHlink>
          <a:srgbClr val="DEE2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81</Words>
  <Application>Microsoft Office PowerPoint</Application>
  <PresentationFormat>A4-Papier (210x297 mm)</PresentationFormat>
  <Paragraphs>140</Paragraphs>
  <Slides>9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Die Bahn_2003</vt:lpstr>
      <vt:lpstr>5_Standarddesign</vt:lpstr>
      <vt:lpstr>7_Standarddesign</vt:lpstr>
      <vt:lpstr>think-cell Folie</vt:lpstr>
      <vt:lpstr>PowerPoint-Präsentation</vt:lpstr>
      <vt:lpstr>Nine Rail Freight Corridors are implemented in Europe – obligation from European Regulation 913/2010</vt:lpstr>
      <vt:lpstr>PowerPoint-Präsentation</vt:lpstr>
      <vt:lpstr>PowerPoint-Präsentation</vt:lpstr>
      <vt:lpstr>Rail on RFC Rhine-Alpine has a focus on intermodal  transport; bulk rather volatile due to IWW competition</vt:lpstr>
      <vt:lpstr>Organisational of RFC Rhine-Alpine: We bring all relevant stakeholders together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ndreasExter</dc:creator>
  <cp:lastModifiedBy>Warnecke, Christiane</cp:lastModifiedBy>
  <cp:revision>1184</cp:revision>
  <cp:lastPrinted>2017-02-23T11:59:43Z</cp:lastPrinted>
  <dcterms:created xsi:type="dcterms:W3CDTF">2005-02-21T07:36:49Z</dcterms:created>
  <dcterms:modified xsi:type="dcterms:W3CDTF">2017-05-02T13:38:46Z</dcterms:modified>
</cp:coreProperties>
</file>